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693" r:id="rId6"/>
    <p:sldMasterId id="2147483703" r:id="rId7"/>
    <p:sldMasterId id="2147483715" r:id="rId8"/>
    <p:sldMasterId id="2147483746" r:id="rId9"/>
    <p:sldMasterId id="2147483762" r:id="rId10"/>
    <p:sldMasterId id="2147483796" r:id="rId11"/>
  </p:sldMasterIdLst>
  <p:notesMasterIdLst>
    <p:notesMasterId r:id="rId26"/>
  </p:notesMasterIdLst>
  <p:sldIdLst>
    <p:sldId id="26421" r:id="rId12"/>
    <p:sldId id="2145706204" r:id="rId13"/>
    <p:sldId id="26411" r:id="rId14"/>
    <p:sldId id="747" r:id="rId15"/>
    <p:sldId id="26409" r:id="rId16"/>
    <p:sldId id="2145706189" r:id="rId17"/>
    <p:sldId id="2145706248" r:id="rId18"/>
    <p:sldId id="2145706251" r:id="rId19"/>
    <p:sldId id="2145706222" r:id="rId20"/>
    <p:sldId id="2145706243" r:id="rId21"/>
    <p:sldId id="2145706200" r:id="rId22"/>
    <p:sldId id="2145706240" r:id="rId23"/>
    <p:sldId id="2145706245" r:id="rId24"/>
    <p:sldId id="2145706250" r:id="rId2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f Thomas, INI-DOS-DPS-TCL" initials="GTI" lastIdx="10" clrIdx="0">
    <p:extLst>
      <p:ext uri="{19B8F6BF-5375-455C-9EA6-DF929625EA0E}">
        <p15:presenceInfo xmlns:p15="http://schemas.microsoft.com/office/powerpoint/2012/main" userId="S-1-5-21-796845957-1547161642-839522115-556206" providerId="AD"/>
      </p:ext>
    </p:extLst>
  </p:cmAuthor>
  <p:cmAuthor id="2" name="Author" initials="A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3198"/>
    <a:srgbClr val="1781E3"/>
    <a:srgbClr val="E61E64"/>
    <a:srgbClr val="11AAFF"/>
    <a:srgbClr val="5944C6"/>
    <a:srgbClr val="A63297"/>
    <a:srgbClr val="0011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5FAC15-EBBD-4C91-A28C-AA195C9A8788}" v="20" dt="2023-07-24T13:49:59.4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78" autoAdjust="0"/>
    <p:restoredTop sz="93961" autoAdjust="0"/>
  </p:normalViewPr>
  <p:slideViewPr>
    <p:cSldViewPr snapToGrid="0">
      <p:cViewPr varScale="1">
        <p:scale>
          <a:sx n="72" d="100"/>
          <a:sy n="72" d="100"/>
        </p:scale>
        <p:origin x="60" y="9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af Thomas, INI-NET-VNC-HCS" userId="487bc3e3-9ce7-4cdd-b7b4-8899ea88d289" providerId="ADAL" clId="{625FAC15-EBBD-4C91-A28C-AA195C9A8788}"/>
    <pc:docChg chg="undo custSel addSld delSld modSld sldOrd">
      <pc:chgData name="Graf Thomas, INI-NET-VNC-HCS" userId="487bc3e3-9ce7-4cdd-b7b4-8899ea88d289" providerId="ADAL" clId="{625FAC15-EBBD-4C91-A28C-AA195C9A8788}" dt="2023-07-24T17:41:50.838" v="2808" actId="20577"/>
      <pc:docMkLst>
        <pc:docMk/>
      </pc:docMkLst>
      <pc:sldChg chg="del ord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3059374615" sldId="396"/>
        </pc:sldMkLst>
      </pc:sldChg>
      <pc:sldChg chg="add del ord">
        <pc:chgData name="Graf Thomas, INI-NET-VNC-HCS" userId="487bc3e3-9ce7-4cdd-b7b4-8899ea88d289" providerId="ADAL" clId="{625FAC15-EBBD-4C91-A28C-AA195C9A8788}" dt="2023-07-23T21:57:30.151" v="1460"/>
        <pc:sldMkLst>
          <pc:docMk/>
          <pc:sldMk cId="3742743098" sldId="747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280121901" sldId="877"/>
        </pc:sldMkLst>
      </pc:sldChg>
      <pc:sldChg chg="modSp add del mod">
        <pc:chgData name="Graf Thomas, INI-NET-VNC-HCS" userId="487bc3e3-9ce7-4cdd-b7b4-8899ea88d289" providerId="ADAL" clId="{625FAC15-EBBD-4C91-A28C-AA195C9A8788}" dt="2023-07-23T18:59:26.707" v="87" actId="47"/>
        <pc:sldMkLst>
          <pc:docMk/>
          <pc:sldMk cId="692774623" sldId="952"/>
        </pc:sldMkLst>
        <pc:spChg chg="mod">
          <ac:chgData name="Graf Thomas, INI-NET-VNC-HCS" userId="487bc3e3-9ce7-4cdd-b7b4-8899ea88d289" providerId="ADAL" clId="{625FAC15-EBBD-4C91-A28C-AA195C9A8788}" dt="2023-07-23T18:58:42.242" v="80" actId="20577"/>
          <ac:spMkLst>
            <pc:docMk/>
            <pc:sldMk cId="692774623" sldId="952"/>
            <ac:spMk id="25" creationId="{6DC81F34-7EA9-C84D-D7BC-2F5514AC4CE4}"/>
          </ac:spMkLst>
        </pc:spChg>
      </pc:sldChg>
      <pc:sldChg chg="del ord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1656045068" sldId="954"/>
        </pc:sldMkLst>
      </pc:sldChg>
      <pc:sldChg chg="add 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860780404" sldId="1280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578294043" sldId="2707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1133176728" sldId="6739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2134394597" sldId="6744"/>
        </pc:sldMkLst>
      </pc:sldChg>
      <pc:sldChg chg="del">
        <pc:chgData name="Graf Thomas, INI-NET-VNC-HCS" userId="487bc3e3-9ce7-4cdd-b7b4-8899ea88d289" providerId="ADAL" clId="{625FAC15-EBBD-4C91-A28C-AA195C9A8788}" dt="2023-07-23T16:26:22.041" v="2" actId="47"/>
        <pc:sldMkLst>
          <pc:docMk/>
          <pc:sldMk cId="3448465945" sldId="26365"/>
        </pc:sldMkLst>
      </pc:sldChg>
      <pc:sldChg chg="modSp add del mod">
        <pc:chgData name="Graf Thomas, INI-NET-VNC-HCS" userId="487bc3e3-9ce7-4cdd-b7b4-8899ea88d289" providerId="ADAL" clId="{625FAC15-EBBD-4C91-A28C-AA195C9A8788}" dt="2023-07-23T22:06:21.791" v="1671" actId="20577"/>
        <pc:sldMkLst>
          <pc:docMk/>
          <pc:sldMk cId="1658204669" sldId="26409"/>
        </pc:sldMkLst>
        <pc:spChg chg="mod">
          <ac:chgData name="Graf Thomas, INI-NET-VNC-HCS" userId="487bc3e3-9ce7-4cdd-b7b4-8899ea88d289" providerId="ADAL" clId="{625FAC15-EBBD-4C91-A28C-AA195C9A8788}" dt="2023-07-23T22:06:21.791" v="1671" actId="20577"/>
          <ac:spMkLst>
            <pc:docMk/>
            <pc:sldMk cId="1658204669" sldId="26409"/>
            <ac:spMk id="10" creationId="{FFEBC078-840D-496B-951C-4D85E87523F4}"/>
          </ac:spMkLst>
        </pc:spChg>
      </pc:sldChg>
      <pc:sldChg chg="del">
        <pc:chgData name="Graf Thomas, INI-NET-VNC-HCS" userId="487bc3e3-9ce7-4cdd-b7b4-8899ea88d289" providerId="ADAL" clId="{625FAC15-EBBD-4C91-A28C-AA195C9A8788}" dt="2023-07-23T16:26:22.041" v="2" actId="47"/>
        <pc:sldMkLst>
          <pc:docMk/>
          <pc:sldMk cId="756091190" sldId="26417"/>
        </pc:sldMkLst>
      </pc:sldChg>
      <pc:sldChg chg="modSp mod">
        <pc:chgData name="Graf Thomas, INI-NET-VNC-HCS" userId="487bc3e3-9ce7-4cdd-b7b4-8899ea88d289" providerId="ADAL" clId="{625FAC15-EBBD-4C91-A28C-AA195C9A8788}" dt="2023-07-23T21:59:19.183" v="1531" actId="20577"/>
        <pc:sldMkLst>
          <pc:docMk/>
          <pc:sldMk cId="83413648" sldId="26421"/>
        </pc:sldMkLst>
        <pc:spChg chg="mod">
          <ac:chgData name="Graf Thomas, INI-NET-VNC-HCS" userId="487bc3e3-9ce7-4cdd-b7b4-8899ea88d289" providerId="ADAL" clId="{625FAC15-EBBD-4C91-A28C-AA195C9A8788}" dt="2023-07-23T21:59:19.183" v="1531" actId="20577"/>
          <ac:spMkLst>
            <pc:docMk/>
            <pc:sldMk cId="83413648" sldId="26421"/>
            <ac:spMk id="2" creationId="{00000000-0000-0000-0000-000000000000}"/>
          </ac:spMkLst>
        </pc:spChg>
        <pc:spChg chg="mod">
          <ac:chgData name="Graf Thomas, INI-NET-VNC-HCS" userId="487bc3e3-9ce7-4cdd-b7b4-8899ea88d289" providerId="ADAL" clId="{625FAC15-EBBD-4C91-A28C-AA195C9A8788}" dt="2023-07-23T16:33:19.315" v="44" actId="20577"/>
          <ac:spMkLst>
            <pc:docMk/>
            <pc:sldMk cId="83413648" sldId="26421"/>
            <ac:spMk id="5" creationId="{322ED2BF-7B71-4061-81BF-3C0686B7D4D5}"/>
          </ac:spMkLst>
        </pc:spChg>
      </pc:sldChg>
      <pc:sldChg chg="add 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1149755721" sldId="26424"/>
        </pc:sldMkLst>
      </pc:sldChg>
      <pc:sldChg chg="modSp add mod">
        <pc:chgData name="Graf Thomas, INI-NET-VNC-HCS" userId="487bc3e3-9ce7-4cdd-b7b4-8899ea88d289" providerId="ADAL" clId="{625FAC15-EBBD-4C91-A28C-AA195C9A8788}" dt="2023-07-24T17:41:27.044" v="2806" actId="20577"/>
        <pc:sldMkLst>
          <pc:docMk/>
          <pc:sldMk cId="815349397" sldId="2145706189"/>
        </pc:sldMkLst>
        <pc:spChg chg="mod">
          <ac:chgData name="Graf Thomas, INI-NET-VNC-HCS" userId="487bc3e3-9ce7-4cdd-b7b4-8899ea88d289" providerId="ADAL" clId="{625FAC15-EBBD-4C91-A28C-AA195C9A8788}" dt="2023-07-24T17:41:27.044" v="2806" actId="20577"/>
          <ac:spMkLst>
            <pc:docMk/>
            <pc:sldMk cId="815349397" sldId="2145706189"/>
            <ac:spMk id="10" creationId="{FFEBC078-840D-496B-951C-4D85E87523F4}"/>
          </ac:spMkLst>
        </pc:spChg>
        <pc:spChg chg="mod">
          <ac:chgData name="Graf Thomas, INI-NET-VNC-HCS" userId="487bc3e3-9ce7-4cdd-b7b4-8899ea88d289" providerId="ADAL" clId="{625FAC15-EBBD-4C91-A28C-AA195C9A8788}" dt="2023-07-23T19:28:44.838" v="968"/>
          <ac:spMkLst>
            <pc:docMk/>
            <pc:sldMk cId="815349397" sldId="2145706189"/>
            <ac:spMk id="14" creationId="{A4229C52-005A-4F3A-826D-8B06B8B911BD}"/>
          </ac:spMkLst>
        </pc:spChg>
      </pc:sldChg>
      <pc:sldChg chg="del">
        <pc:chgData name="Graf Thomas, INI-NET-VNC-HCS" userId="487bc3e3-9ce7-4cdd-b7b4-8899ea88d289" providerId="ADAL" clId="{625FAC15-EBBD-4C91-A28C-AA195C9A8788}" dt="2023-07-23T16:26:22.041" v="2" actId="47"/>
        <pc:sldMkLst>
          <pc:docMk/>
          <pc:sldMk cId="352083460" sldId="2145706196"/>
        </pc:sldMkLst>
      </pc:sldChg>
      <pc:sldChg chg="add ord">
        <pc:chgData name="Graf Thomas, INI-NET-VNC-HCS" userId="487bc3e3-9ce7-4cdd-b7b4-8899ea88d289" providerId="ADAL" clId="{625FAC15-EBBD-4C91-A28C-AA195C9A8788}" dt="2023-07-23T21:58:37.073" v="1476"/>
        <pc:sldMkLst>
          <pc:docMk/>
          <pc:sldMk cId="3241116723" sldId="2145706200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701673731" sldId="2145706201"/>
        </pc:sldMkLst>
      </pc:sldChg>
      <pc:sldChg chg="del">
        <pc:chgData name="Graf Thomas, INI-NET-VNC-HCS" userId="487bc3e3-9ce7-4cdd-b7b4-8899ea88d289" providerId="ADAL" clId="{625FAC15-EBBD-4C91-A28C-AA195C9A8788}" dt="2023-07-23T16:30:59.894" v="6" actId="47"/>
        <pc:sldMkLst>
          <pc:docMk/>
          <pc:sldMk cId="2867673274" sldId="2145706206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45214459" sldId="2145706207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692603831" sldId="2145706208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185080256" sldId="2145706209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2611545063" sldId="2145706210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1929664055" sldId="2145706212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871015791" sldId="2145706214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2771862595" sldId="2145706219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2105640288" sldId="2145706220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670772560" sldId="2145706221"/>
        </pc:sldMkLst>
      </pc:sldChg>
      <pc:sldChg chg="ord">
        <pc:chgData name="Graf Thomas, INI-NET-VNC-HCS" userId="487bc3e3-9ce7-4cdd-b7b4-8899ea88d289" providerId="ADAL" clId="{625FAC15-EBBD-4C91-A28C-AA195C9A8788}" dt="2023-07-24T13:34:36.593" v="2629"/>
        <pc:sldMkLst>
          <pc:docMk/>
          <pc:sldMk cId="3453066419" sldId="2145706222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1015036593" sldId="2145706223"/>
        </pc:sldMkLst>
      </pc:sldChg>
      <pc:sldChg chg="modSp add mod ord">
        <pc:chgData name="Graf Thomas, INI-NET-VNC-HCS" userId="487bc3e3-9ce7-4cdd-b7b4-8899ea88d289" providerId="ADAL" clId="{625FAC15-EBBD-4C91-A28C-AA195C9A8788}" dt="2023-07-24T13:36:50.049" v="2759" actId="20577"/>
        <pc:sldMkLst>
          <pc:docMk/>
          <pc:sldMk cId="2058983617" sldId="2145706240"/>
        </pc:sldMkLst>
        <pc:spChg chg="mod">
          <ac:chgData name="Graf Thomas, INI-NET-VNC-HCS" userId="487bc3e3-9ce7-4cdd-b7b4-8899ea88d289" providerId="ADAL" clId="{625FAC15-EBBD-4C91-A28C-AA195C9A8788}" dt="2023-07-23T21:59:51.910" v="1573" actId="20577"/>
          <ac:spMkLst>
            <pc:docMk/>
            <pc:sldMk cId="2058983617" sldId="2145706240"/>
            <ac:spMk id="5" creationId="{AE0C8B0E-A4DE-0F83-CE09-A20D71FC3655}"/>
          </ac:spMkLst>
        </pc:spChg>
        <pc:spChg chg="mod">
          <ac:chgData name="Graf Thomas, INI-NET-VNC-HCS" userId="487bc3e3-9ce7-4cdd-b7b4-8899ea88d289" providerId="ADAL" clId="{625FAC15-EBBD-4C91-A28C-AA195C9A8788}" dt="2023-07-24T13:36:50.049" v="2759" actId="20577"/>
          <ac:spMkLst>
            <pc:docMk/>
            <pc:sldMk cId="2058983617" sldId="2145706240"/>
            <ac:spMk id="25" creationId="{6DC81F34-7EA9-C84D-D7BC-2F5514AC4CE4}"/>
          </ac:spMkLst>
        </pc:spChg>
      </pc:sldChg>
      <pc:sldChg chg="add ord">
        <pc:chgData name="Graf Thomas, INI-NET-VNC-HCS" userId="487bc3e3-9ce7-4cdd-b7b4-8899ea88d289" providerId="ADAL" clId="{625FAC15-EBBD-4C91-A28C-AA195C9A8788}" dt="2023-07-23T21:57:43.988" v="1464"/>
        <pc:sldMkLst>
          <pc:docMk/>
          <pc:sldMk cId="4209814961" sldId="2145706243"/>
        </pc:sldMkLst>
      </pc:sldChg>
      <pc:sldChg chg="add del ord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2676898737" sldId="2145706244"/>
        </pc:sldMkLst>
      </pc:sldChg>
      <pc:sldChg chg="modSp add mod ord">
        <pc:chgData name="Graf Thomas, INI-NET-VNC-HCS" userId="487bc3e3-9ce7-4cdd-b7b4-8899ea88d289" providerId="ADAL" clId="{625FAC15-EBBD-4C91-A28C-AA195C9A8788}" dt="2023-07-24T13:35:30.407" v="2660" actId="14100"/>
        <pc:sldMkLst>
          <pc:docMk/>
          <pc:sldMk cId="1182712198" sldId="2145706245"/>
        </pc:sldMkLst>
        <pc:spChg chg="mod">
          <ac:chgData name="Graf Thomas, INI-NET-VNC-HCS" userId="487bc3e3-9ce7-4cdd-b7b4-8899ea88d289" providerId="ADAL" clId="{625FAC15-EBBD-4C91-A28C-AA195C9A8788}" dt="2023-07-24T13:35:30.407" v="2660" actId="14100"/>
          <ac:spMkLst>
            <pc:docMk/>
            <pc:sldMk cId="1182712198" sldId="2145706245"/>
            <ac:spMk id="8" creationId="{FBE5644D-AF4A-4732-B3D8-A1D12FF5A0D4}"/>
          </ac:spMkLst>
        </pc:spChg>
      </pc:sldChg>
      <pc:sldChg chg="add del">
        <pc:chgData name="Graf Thomas, INI-NET-VNC-HCS" userId="487bc3e3-9ce7-4cdd-b7b4-8899ea88d289" providerId="ADAL" clId="{625FAC15-EBBD-4C91-A28C-AA195C9A8788}" dt="2023-07-23T16:31:53.152" v="7" actId="47"/>
        <pc:sldMkLst>
          <pc:docMk/>
          <pc:sldMk cId="2589219022" sldId="2145706246"/>
        </pc:sldMkLst>
      </pc:sldChg>
      <pc:sldChg chg="add del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1044265979" sldId="2145706247"/>
        </pc:sldMkLst>
      </pc:sldChg>
      <pc:sldChg chg="modSp add del mod">
        <pc:chgData name="Graf Thomas, INI-NET-VNC-HCS" userId="487bc3e3-9ce7-4cdd-b7b4-8899ea88d289" providerId="ADAL" clId="{625FAC15-EBBD-4C91-A28C-AA195C9A8788}" dt="2023-07-23T19:28:48.967" v="969" actId="47"/>
        <pc:sldMkLst>
          <pc:docMk/>
          <pc:sldMk cId="216223607" sldId="2145706248"/>
        </pc:sldMkLst>
        <pc:spChg chg="mod">
          <ac:chgData name="Graf Thomas, INI-NET-VNC-HCS" userId="487bc3e3-9ce7-4cdd-b7b4-8899ea88d289" providerId="ADAL" clId="{625FAC15-EBBD-4C91-A28C-AA195C9A8788}" dt="2023-07-23T19:26:48.695" v="853" actId="20577"/>
          <ac:spMkLst>
            <pc:docMk/>
            <pc:sldMk cId="216223607" sldId="2145706248"/>
            <ac:spMk id="10" creationId="{FFEBC078-840D-496B-951C-4D85E87523F4}"/>
          </ac:spMkLst>
        </pc:spChg>
        <pc:spChg chg="mod">
          <ac:chgData name="Graf Thomas, INI-NET-VNC-HCS" userId="487bc3e3-9ce7-4cdd-b7b4-8899ea88d289" providerId="ADAL" clId="{625FAC15-EBBD-4C91-A28C-AA195C9A8788}" dt="2023-07-23T19:21:52.912" v="516" actId="20577"/>
          <ac:spMkLst>
            <pc:docMk/>
            <pc:sldMk cId="216223607" sldId="2145706248"/>
            <ac:spMk id="14" creationId="{A4229C52-005A-4F3A-826D-8B06B8B911BD}"/>
          </ac:spMkLst>
        </pc:spChg>
      </pc:sldChg>
      <pc:sldChg chg="new del">
        <pc:chgData name="Graf Thomas, INI-NET-VNC-HCS" userId="487bc3e3-9ce7-4cdd-b7b4-8899ea88d289" providerId="ADAL" clId="{625FAC15-EBBD-4C91-A28C-AA195C9A8788}" dt="2023-07-23T19:19:08.661" v="93" actId="47"/>
        <pc:sldMkLst>
          <pc:docMk/>
          <pc:sldMk cId="390797805" sldId="2145706248"/>
        </pc:sldMkLst>
      </pc:sldChg>
      <pc:sldChg chg="addSp delSp modSp add mod ord">
        <pc:chgData name="Graf Thomas, INI-NET-VNC-HCS" userId="487bc3e3-9ce7-4cdd-b7b4-8899ea88d289" providerId="ADAL" clId="{625FAC15-EBBD-4C91-A28C-AA195C9A8788}" dt="2023-07-24T17:41:50.838" v="2808" actId="20577"/>
        <pc:sldMkLst>
          <pc:docMk/>
          <pc:sldMk cId="4089325581" sldId="2145706248"/>
        </pc:sldMkLst>
        <pc:spChg chg="mod">
          <ac:chgData name="Graf Thomas, INI-NET-VNC-HCS" userId="487bc3e3-9ce7-4cdd-b7b4-8899ea88d289" providerId="ADAL" clId="{625FAC15-EBBD-4C91-A28C-AA195C9A8788}" dt="2023-07-24T17:41:50.838" v="2808" actId="20577"/>
          <ac:spMkLst>
            <pc:docMk/>
            <pc:sldMk cId="4089325581" sldId="2145706248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3:07.492" v="1741" actId="478"/>
          <ac:spMkLst>
            <pc:docMk/>
            <pc:sldMk cId="4089325581" sldId="2145706248"/>
            <ac:spMk id="14" creationId="{A4229C52-005A-4F3A-826D-8B06B8B911BD}"/>
          </ac:spMkLst>
        </pc:spChg>
        <pc:picChg chg="add del mod">
          <ac:chgData name="Graf Thomas, INI-NET-VNC-HCS" userId="487bc3e3-9ce7-4cdd-b7b4-8899ea88d289" providerId="ADAL" clId="{625FAC15-EBBD-4C91-A28C-AA195C9A8788}" dt="2023-07-24T13:39:10.039" v="2766" actId="478"/>
          <ac:picMkLst>
            <pc:docMk/>
            <pc:sldMk cId="4089325581" sldId="2145706248"/>
            <ac:picMk id="2" creationId="{3CF37A8F-3420-3867-C802-183984960772}"/>
          </ac:picMkLst>
        </pc:picChg>
        <pc:picChg chg="add del mod">
          <ac:chgData name="Graf Thomas, INI-NET-VNC-HCS" userId="487bc3e3-9ce7-4cdd-b7b4-8899ea88d289" providerId="ADAL" clId="{625FAC15-EBBD-4C91-A28C-AA195C9A8788}" dt="2023-07-24T13:40:37.093" v="2772" actId="478"/>
          <ac:picMkLst>
            <pc:docMk/>
            <pc:sldMk cId="4089325581" sldId="2145706248"/>
            <ac:picMk id="3" creationId="{DD6F14BB-2CAD-ED1D-42A2-C16C1AB74E3E}"/>
          </ac:picMkLst>
        </pc:picChg>
        <pc:picChg chg="add del mod">
          <ac:chgData name="Graf Thomas, INI-NET-VNC-HCS" userId="487bc3e3-9ce7-4cdd-b7b4-8899ea88d289" providerId="ADAL" clId="{625FAC15-EBBD-4C91-A28C-AA195C9A8788}" dt="2023-07-24T13:40:42.123" v="2775" actId="478"/>
          <ac:picMkLst>
            <pc:docMk/>
            <pc:sldMk cId="4089325581" sldId="2145706248"/>
            <ac:picMk id="6" creationId="{73D95CAC-7089-B9D2-1507-C9447E91C866}"/>
          </ac:picMkLst>
        </pc:picChg>
        <pc:picChg chg="add mod modCrop">
          <ac:chgData name="Graf Thomas, INI-NET-VNC-HCS" userId="487bc3e3-9ce7-4cdd-b7b4-8899ea88d289" providerId="ADAL" clId="{625FAC15-EBBD-4C91-A28C-AA195C9A8788}" dt="2023-07-24T13:41:32" v="2780" actId="732"/>
          <ac:picMkLst>
            <pc:docMk/>
            <pc:sldMk cId="4089325581" sldId="2145706248"/>
            <ac:picMk id="7" creationId="{AF6B45BE-4D0E-B9AA-FD05-3B46ADC3FED5}"/>
          </ac:picMkLst>
        </pc:picChg>
        <pc:picChg chg="del">
          <ac:chgData name="Graf Thomas, INI-NET-VNC-HCS" userId="487bc3e3-9ce7-4cdd-b7b4-8899ea88d289" providerId="ADAL" clId="{625FAC15-EBBD-4C91-A28C-AA195C9A8788}" dt="2023-07-24T13:38:25.390" v="2760" actId="478"/>
          <ac:picMkLst>
            <pc:docMk/>
            <pc:sldMk cId="4089325581" sldId="2145706248"/>
            <ac:picMk id="8" creationId="{68405047-376C-4457-A3CF-843CB4E933DE}"/>
          </ac:picMkLst>
        </pc:picChg>
      </pc:sldChg>
      <pc:sldChg chg="delSp modSp add del mod">
        <pc:chgData name="Graf Thomas, INI-NET-VNC-HCS" userId="487bc3e3-9ce7-4cdd-b7b4-8899ea88d289" providerId="ADAL" clId="{625FAC15-EBBD-4C91-A28C-AA195C9A8788}" dt="2023-07-23T22:14:48.420" v="1757" actId="47"/>
        <pc:sldMkLst>
          <pc:docMk/>
          <pc:sldMk cId="3537813966" sldId="2145706249"/>
        </pc:sldMkLst>
        <pc:spChg chg="mod">
          <ac:chgData name="Graf Thomas, INI-NET-VNC-HCS" userId="487bc3e3-9ce7-4cdd-b7b4-8899ea88d289" providerId="ADAL" clId="{625FAC15-EBBD-4C91-A28C-AA195C9A8788}" dt="2023-07-23T22:12:07.819" v="1683" actId="20577"/>
          <ac:spMkLst>
            <pc:docMk/>
            <pc:sldMk cId="3537813966" sldId="2145706249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3:20.421" v="1742" actId="478"/>
          <ac:spMkLst>
            <pc:docMk/>
            <pc:sldMk cId="3537813966" sldId="2145706249"/>
            <ac:spMk id="14" creationId="{A4229C52-005A-4F3A-826D-8B06B8B911BD}"/>
          </ac:spMkLst>
        </pc:spChg>
      </pc:sldChg>
      <pc:sldChg chg="addSp delSp modSp add mod ord">
        <pc:chgData name="Graf Thomas, INI-NET-VNC-HCS" userId="487bc3e3-9ce7-4cdd-b7b4-8899ea88d289" providerId="ADAL" clId="{625FAC15-EBBD-4C91-A28C-AA195C9A8788}" dt="2023-07-24T13:31:34.863" v="2606" actId="20577"/>
        <pc:sldMkLst>
          <pc:docMk/>
          <pc:sldMk cId="1841948455" sldId="2145706250"/>
        </pc:sldMkLst>
        <pc:spChg chg="mod">
          <ac:chgData name="Graf Thomas, INI-NET-VNC-HCS" userId="487bc3e3-9ce7-4cdd-b7b4-8899ea88d289" providerId="ADAL" clId="{625FAC15-EBBD-4C91-A28C-AA195C9A8788}" dt="2023-07-24T13:31:34.863" v="2606" actId="20577"/>
          <ac:spMkLst>
            <pc:docMk/>
            <pc:sldMk cId="1841948455" sldId="2145706250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3:25.354" v="1743" actId="478"/>
          <ac:spMkLst>
            <pc:docMk/>
            <pc:sldMk cId="1841948455" sldId="2145706250"/>
            <ac:spMk id="14" creationId="{A4229C52-005A-4F3A-826D-8B06B8B911BD}"/>
          </ac:spMkLst>
        </pc:spChg>
        <pc:picChg chg="add del mod">
          <ac:chgData name="Graf Thomas, INI-NET-VNC-HCS" userId="487bc3e3-9ce7-4cdd-b7b4-8899ea88d289" providerId="ADAL" clId="{625FAC15-EBBD-4C91-A28C-AA195C9A8788}" dt="2023-07-23T22:21:47.879" v="2180"/>
          <ac:picMkLst>
            <pc:docMk/>
            <pc:sldMk cId="1841948455" sldId="2145706250"/>
            <ac:picMk id="2" creationId="{0B2BDE7C-68C2-F199-3F80-DA1994C83283}"/>
          </ac:picMkLst>
        </pc:picChg>
        <pc:picChg chg="add mod">
          <ac:chgData name="Graf Thomas, INI-NET-VNC-HCS" userId="487bc3e3-9ce7-4cdd-b7b4-8899ea88d289" providerId="ADAL" clId="{625FAC15-EBBD-4C91-A28C-AA195C9A8788}" dt="2023-07-23T22:22:01.224" v="2186" actId="1076"/>
          <ac:picMkLst>
            <pc:docMk/>
            <pc:sldMk cId="1841948455" sldId="2145706250"/>
            <ac:picMk id="3" creationId="{FFB8AA38-4F95-A2ED-9A95-FC9AA40F6A19}"/>
          </ac:picMkLst>
        </pc:picChg>
        <pc:picChg chg="add del">
          <ac:chgData name="Graf Thomas, INI-NET-VNC-HCS" userId="487bc3e3-9ce7-4cdd-b7b4-8899ea88d289" providerId="ADAL" clId="{625FAC15-EBBD-4C91-A28C-AA195C9A8788}" dt="2023-07-23T22:21:56.505" v="2185" actId="478"/>
          <ac:picMkLst>
            <pc:docMk/>
            <pc:sldMk cId="1841948455" sldId="2145706250"/>
            <ac:picMk id="8" creationId="{68405047-376C-4457-A3CF-843CB4E933DE}"/>
          </ac:picMkLst>
        </pc:picChg>
      </pc:sldChg>
      <pc:sldChg chg="addSp delSp modSp add mod ord">
        <pc:chgData name="Graf Thomas, INI-NET-VNC-HCS" userId="487bc3e3-9ce7-4cdd-b7b4-8899ea88d289" providerId="ADAL" clId="{625FAC15-EBBD-4C91-A28C-AA195C9A8788}" dt="2023-07-24T13:50:36.334" v="2800" actId="1076"/>
        <pc:sldMkLst>
          <pc:docMk/>
          <pc:sldMk cId="128717953" sldId="2145706251"/>
        </pc:sldMkLst>
        <pc:spChg chg="mod">
          <ac:chgData name="Graf Thomas, INI-NET-VNC-HCS" userId="487bc3e3-9ce7-4cdd-b7b4-8899ea88d289" providerId="ADAL" clId="{625FAC15-EBBD-4C91-A28C-AA195C9A8788}" dt="2023-07-24T13:34:24.001" v="2627" actId="20577"/>
          <ac:spMkLst>
            <pc:docMk/>
            <pc:sldMk cId="128717953" sldId="2145706251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5:00.416" v="1758" actId="478"/>
          <ac:spMkLst>
            <pc:docMk/>
            <pc:sldMk cId="128717953" sldId="2145706251"/>
            <ac:spMk id="14" creationId="{A4229C52-005A-4F3A-826D-8B06B8B911BD}"/>
          </ac:spMkLst>
        </pc:spChg>
        <pc:picChg chg="add del mod modCrop">
          <ac:chgData name="Graf Thomas, INI-NET-VNC-HCS" userId="487bc3e3-9ce7-4cdd-b7b4-8899ea88d289" providerId="ADAL" clId="{625FAC15-EBBD-4C91-A28C-AA195C9A8788}" dt="2023-07-24T13:49:58.973" v="2792" actId="478"/>
          <ac:picMkLst>
            <pc:docMk/>
            <pc:sldMk cId="128717953" sldId="2145706251"/>
            <ac:picMk id="2" creationId="{54C717AE-10C5-381C-944B-E05A4A6FF591}"/>
          </ac:picMkLst>
        </pc:picChg>
        <pc:picChg chg="add mod modCrop">
          <ac:chgData name="Graf Thomas, INI-NET-VNC-HCS" userId="487bc3e3-9ce7-4cdd-b7b4-8899ea88d289" providerId="ADAL" clId="{625FAC15-EBBD-4C91-A28C-AA195C9A8788}" dt="2023-07-24T13:50:36.334" v="2800" actId="1076"/>
          <ac:picMkLst>
            <pc:docMk/>
            <pc:sldMk cId="128717953" sldId="2145706251"/>
            <ac:picMk id="3" creationId="{4C3BF9F6-C7E5-D000-B6C8-04EB420FE9E5}"/>
          </ac:picMkLst>
        </pc:picChg>
        <pc:picChg chg="del">
          <ac:chgData name="Graf Thomas, INI-NET-VNC-HCS" userId="487bc3e3-9ce7-4cdd-b7b4-8899ea88d289" providerId="ADAL" clId="{625FAC15-EBBD-4C91-A28C-AA195C9A8788}" dt="2023-07-24T13:48:15.490" v="2781" actId="478"/>
          <ac:picMkLst>
            <pc:docMk/>
            <pc:sldMk cId="128717953" sldId="2145706251"/>
            <ac:picMk id="6" creationId="{AFE16EF3-7433-40D2-8973-A43D996869BC}"/>
          </ac:picMkLst>
        </pc:picChg>
      </pc:sldChg>
      <pc:sldMasterChg chg="delSldLayout">
        <pc:chgData name="Graf Thomas, INI-NET-VNC-HCS" userId="487bc3e3-9ce7-4cdd-b7b4-8899ea88d289" providerId="ADAL" clId="{625FAC15-EBBD-4C91-A28C-AA195C9A8788}" dt="2023-07-23T16:26:22.041" v="2" actId="47"/>
        <pc:sldMasterMkLst>
          <pc:docMk/>
          <pc:sldMasterMk cId="2299955599" sldId="2147483796"/>
        </pc:sldMasterMkLst>
        <pc:sldLayoutChg chg="del">
          <pc:chgData name="Graf Thomas, INI-NET-VNC-HCS" userId="487bc3e3-9ce7-4cdd-b7b4-8899ea88d289" providerId="ADAL" clId="{625FAC15-EBBD-4C91-A28C-AA195C9A8788}" dt="2023-07-23T16:26:22.041" v="2" actId="47"/>
          <pc:sldLayoutMkLst>
            <pc:docMk/>
            <pc:sldMasterMk cId="2299955599" sldId="2147483796"/>
            <pc:sldLayoutMk cId="1364013481" sldId="214748381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FF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73F-42EE-BD33-5E7E33FA97EB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C73F-42EE-BD33-5E7E33FA97EB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C73F-42EE-BD33-5E7E33FA97EB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C73F-42EE-BD33-5E7E33FA97EB}"/>
              </c:ext>
            </c:extLst>
          </c:dPt>
          <c:cat>
            <c:strRef>
              <c:f>Tabelle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73F-42EE-BD33-5E7E33FA97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BDD433-4E40-433E-B175-009AB0739125}" type="datetimeFigureOut">
              <a:rPr lang="de-CH" smtClean="0"/>
              <a:t>24.07.2023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B1C083-703C-451B-9F49-71D74F7A8ADE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2431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349738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535774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3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5893928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340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22071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927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4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746268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99473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6373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90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3943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9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625468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9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9" y="1770065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9" y="3590935"/>
            <a:ext cx="4785783" cy="1062039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err="1"/>
              <a:t>Formatvorlage</a:t>
            </a:r>
            <a:r>
              <a:rPr lang="en-GB" noProof="0"/>
              <a:t> des </a:t>
            </a:r>
            <a:r>
              <a:rPr lang="en-GB" noProof="0" err="1"/>
              <a:t>Untertitelmasters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6751513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Bla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9" y="1770065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9" y="3590935"/>
            <a:ext cx="4785783" cy="1062039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err="1"/>
              <a:t>Formatvorlage</a:t>
            </a:r>
            <a:r>
              <a:rPr lang="en-GB" noProof="0"/>
              <a:t> des </a:t>
            </a:r>
            <a:r>
              <a:rPr lang="en-GB" noProof="0" err="1"/>
              <a:t>Untertitelmasters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24852921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rgbClr val="DDE3E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en-GB"/>
              <a:t>Click icon </a:t>
            </a:r>
            <a:br>
              <a:rPr lang="en-GB"/>
            </a:br>
            <a:r>
              <a:rPr lang="en-GB"/>
              <a:t>to add pictur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C7B15AF-35F6-4342-BFFD-60CEF2991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5600" y="360000"/>
            <a:ext cx="342000" cy="460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C0A1EC-77F3-4323-93F3-DA7A757DE2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933056"/>
            <a:ext cx="5183882" cy="1656000"/>
          </a:xfrm>
        </p:spPr>
        <p:txBody>
          <a:bodyPr tIns="0"/>
          <a:lstStyle>
            <a:lvl1pPr>
              <a:lnSpc>
                <a:spcPct val="90000"/>
              </a:lnSpc>
              <a:defRPr sz="3200"/>
            </a:lvl1pPr>
          </a:lstStyle>
          <a:p>
            <a:pPr lvl="0"/>
            <a:r>
              <a:rPr lang="en-GB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359299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2">
            <a:extLst>
              <a:ext uri="{FF2B5EF4-FFF2-40B4-BE49-F238E27FC236}">
                <a16:creationId xmlns:a16="http://schemas.microsoft.com/office/drawing/2014/main" id="{31CCA9A7-7392-474F-A97C-4FFD1536D6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28" r="-3007"/>
          <a:stretch/>
        </p:blipFill>
        <p:spPr>
          <a:xfrm>
            <a:off x="1203656" y="0"/>
            <a:ext cx="12237159" cy="6858000"/>
          </a:xfrm>
          <a:prstGeom prst="rect">
            <a:avLst/>
          </a:prstGeom>
          <a:ln>
            <a:noFill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D46F054-5B83-4656-A174-AFA2194CAC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99456" y="1484313"/>
            <a:ext cx="5112000" cy="4897437"/>
          </a:xfrm>
        </p:spPr>
        <p:txBody>
          <a:bodyPr l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564926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6">
          <p15:clr>
            <a:srgbClr val="547EB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|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96BEA9E-AA8A-4009-9F77-9A844B1639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99456" y="1484313"/>
            <a:ext cx="5112000" cy="48974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78744BB-555F-45E2-92B2-3298A462D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918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6">
          <p15:clr>
            <a:srgbClr val="547EB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5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561051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3E6DB4-7ADC-4B55-8AD8-3BA360268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9F3D12-0829-4466-A8F8-35405B4F1E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B94C8E0-E39E-40CF-9F7E-CFC728DE0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2488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33333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15E00E-D6FB-4E33-8601-E8BA89784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0442036-1C04-47BC-98AD-23710B5C3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458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0.1.2019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Introduction to Telemetry 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414" indent="-490414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476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476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476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/>
        </p:nvSpPr>
        <p:spPr bwMode="gray">
          <a:xfrm flipV="1">
            <a:off x="1198493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gray">
          <a:xfrm flipV="1">
            <a:off x="1198493" y="3356991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gray">
          <a:xfrm>
            <a:off x="1156759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/>
        </p:nvSpPr>
        <p:spPr bwMode="gray">
          <a:xfrm>
            <a:off x="1156759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8999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2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10.1.2019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09E9E80D-70AF-457A-95FA-A9D03F861920}" type="slidenum">
              <a:rPr lang="de-CH" smtClean="0"/>
              <a:t>‹#›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Introduction to Telemetry </a:t>
            </a:r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/>
          </p:nvPr>
        </p:nvSpPr>
        <p:spPr>
          <a:xfrm>
            <a:off x="1200151" y="1773241"/>
            <a:ext cx="4800600" cy="20878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6191251" y="1773241"/>
            <a:ext cx="4800600" cy="20878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6" name="Inhaltsplatzhalter 7"/>
          <p:cNvSpPr>
            <a:spLocks noGrp="1"/>
          </p:cNvSpPr>
          <p:nvPr>
            <p:ph sz="quarter" idx="19"/>
          </p:nvPr>
        </p:nvSpPr>
        <p:spPr>
          <a:xfrm>
            <a:off x="12001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61912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79784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GB"/>
              <a:t>Author, Date, Presentation title, C0 classific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2449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927" y="291109"/>
            <a:ext cx="11653835" cy="896519"/>
          </a:xfrm>
        </p:spPr>
        <p:txBody>
          <a:bodyPr/>
          <a:lstStyle>
            <a:lvl1pPr>
              <a:defRPr sz="4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69241" y="1663949"/>
            <a:ext cx="10757097" cy="1831701"/>
          </a:xfrm>
        </p:spPr>
        <p:txBody>
          <a:bodyPr/>
          <a:lstStyle>
            <a:lvl1pPr>
              <a:defRPr sz="21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0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2602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e 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0D1357-C544-4E8D-8602-6414198CD50C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r>
              <a:rPr lang="de-CH"/>
              <a:t>Swisscom IT Services - „Wo stehen wir heute, wo wollen wir hin?“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610351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90B452-A44A-4E43-95CC-332CC049A783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1200150" y="1700809"/>
            <a:ext cx="9792395" cy="460923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4027606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6" y="285"/>
            <a:ext cx="12190993" cy="685743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200155" y="1773247"/>
            <a:ext cx="8736276" cy="1584327"/>
          </a:xfrm>
          <a:prstGeom prst="rect">
            <a:avLst/>
          </a:prstGeom>
        </p:spPr>
        <p:txBody>
          <a:bodyPr bIns="126000" anchor="b"/>
          <a:lstStyle>
            <a:lvl1pPr marL="0" indent="0"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560" y="5652279"/>
            <a:ext cx="1728000" cy="958960"/>
          </a:xfrm>
          <a:prstGeom prst="rect">
            <a:avLst/>
          </a:prstGeom>
        </p:spPr>
      </p:pic>
      <p:sp>
        <p:nvSpPr>
          <p:cNvPr id="9" name="Line 11"/>
          <p:cNvSpPr>
            <a:spLocks noChangeShapeType="1"/>
          </p:cNvSpPr>
          <p:nvPr userDrawn="1"/>
        </p:nvSpPr>
        <p:spPr bwMode="gray">
          <a:xfrm>
            <a:off x="1200152" y="3357563"/>
            <a:ext cx="489584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200151" y="3573467"/>
            <a:ext cx="4895848" cy="1223689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288"/>
              </a:spcBef>
              <a:buNone/>
              <a:defRPr sz="1200">
                <a:solidFill>
                  <a:schemeClr val="tx1"/>
                </a:solidFill>
              </a:defRPr>
            </a:lvl1pPr>
            <a:lvl2pPr marL="3175" indent="0" algn="l">
              <a:buNone/>
              <a:defRPr sz="1200">
                <a:solidFill>
                  <a:schemeClr val="tx1"/>
                </a:solidFill>
              </a:defRPr>
            </a:lvl2pPr>
            <a:lvl3pPr marL="3175" indent="0" algn="l">
              <a:buNone/>
              <a:defRPr sz="1200">
                <a:solidFill>
                  <a:schemeClr val="tx1"/>
                </a:solidFill>
              </a:defRPr>
            </a:lvl3pPr>
            <a:lvl4pPr marL="3175" indent="0" algn="l">
              <a:buNone/>
              <a:defRPr sz="1200">
                <a:solidFill>
                  <a:schemeClr val="tx1"/>
                </a:solidFill>
              </a:defRPr>
            </a:lvl4pPr>
            <a:lvl5pPr marL="3175" indent="0" algn="l">
              <a:buNone/>
              <a:defRPr sz="1200">
                <a:solidFill>
                  <a:schemeClr val="tx1"/>
                </a:solidFill>
              </a:defRPr>
            </a:lvl5pPr>
            <a:lvl6pPr marL="3175" indent="0" algn="l">
              <a:buNone/>
              <a:defRPr sz="1200">
                <a:solidFill>
                  <a:schemeClr val="tx1"/>
                </a:solidFill>
              </a:defRPr>
            </a:lvl6pPr>
            <a:lvl7pPr marL="3175" indent="0" algn="l">
              <a:buNone/>
              <a:defRPr sz="1200">
                <a:solidFill>
                  <a:schemeClr val="tx1"/>
                </a:solidFill>
              </a:defRPr>
            </a:lvl7pPr>
            <a:lvl8pPr marL="3175" indent="0" algn="l">
              <a:buNone/>
              <a:defRPr sz="1200">
                <a:solidFill>
                  <a:schemeClr val="tx1"/>
                </a:solidFill>
              </a:defRPr>
            </a:lvl8pPr>
            <a:lvl9pPr marL="3175" indent="0" algn="l"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903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 tIns="0" rIns="0" bIns="108000"/>
          <a:lstStyle>
            <a:lvl1pPr marL="490538" indent="-490538"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200153" y="1772770"/>
            <a:ext cx="9791700" cy="4248619"/>
          </a:xfrm>
          <a:prstGeom prst="rect">
            <a:avLst/>
          </a:prstGeom>
        </p:spPr>
        <p:txBody>
          <a:bodyPr/>
          <a:lstStyle>
            <a:lvl1pPr marL="182563" indent="-182563">
              <a:defRPr/>
            </a:lvl1pPr>
            <a:lvl2pPr marL="539750" indent="-182563">
              <a:defRPr/>
            </a:lvl2pPr>
            <a:lvl3pPr marL="898525" indent="-184150">
              <a:defRPr/>
            </a:lvl3pPr>
            <a:lvl4pPr marL="1255713" indent="-184150">
              <a:defRPr/>
            </a:lvl4pPr>
            <a:lvl5pPr marL="1612900" indent="-17462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75F937F-578B-432D-B413-03DE4E4B2A9B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</a:t>
            </a:r>
            <a:r>
              <a:rPr lang="en-GB" err="1">
                <a:solidFill>
                  <a:srgbClr val="001155"/>
                </a:solidFill>
              </a:rPr>
              <a:t>Filename_Version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3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45"/>
            <a:ext cx="4799836" cy="42481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92014" y="1773245"/>
            <a:ext cx="4799837" cy="42481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6883231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45"/>
            <a:ext cx="4799836" cy="42481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45"/>
            <a:ext cx="4800600" cy="42481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3178820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9"/>
            <a:ext cx="4799836" cy="2303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82563" indent="-182563">
              <a:buClr>
                <a:schemeClr val="accent2"/>
              </a:buClr>
              <a:buFont typeface="Arial" pitchFamily="34" charset="0"/>
              <a:buChar char="•"/>
              <a:defRPr sz="1200"/>
            </a:lvl2pPr>
            <a:lvl3pPr marL="361950" indent="-184150">
              <a:defRPr sz="1200"/>
            </a:lvl3pPr>
            <a:lvl4pPr marL="536575" indent="-184150">
              <a:defRPr sz="1200"/>
            </a:lvl4pPr>
            <a:lvl5pPr marL="714375" indent="-182563">
              <a:defRPr sz="1200"/>
            </a:lvl5pPr>
            <a:lvl6pPr marL="714375" indent="-174625">
              <a:defRPr sz="1200"/>
            </a:lvl6pPr>
            <a:lvl7pPr marL="714375" indent="-174625">
              <a:defRPr sz="1200"/>
            </a:lvl7pPr>
            <a:lvl8pPr marL="714375" indent="-174625">
              <a:defRPr sz="1200"/>
            </a:lvl8pPr>
            <a:lvl9pPr marL="714375" indent="-174625"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39"/>
            <a:ext cx="4800600" cy="23038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943840" y="4220565"/>
            <a:ext cx="604801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196143" y="4220565"/>
            <a:ext cx="355567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4090099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7"/>
          </p:nvPr>
        </p:nvSpPr>
        <p:spPr>
          <a:xfrm>
            <a:off x="1200151" y="1773248"/>
            <a:ext cx="4800600" cy="2087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6191251" y="1773248"/>
            <a:ext cx="4800600" cy="2087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Inhaltsplatzhalter 7"/>
          <p:cNvSpPr>
            <a:spLocks noGrp="1"/>
          </p:cNvSpPr>
          <p:nvPr>
            <p:ph sz="quarter" idx="19"/>
          </p:nvPr>
        </p:nvSpPr>
        <p:spPr>
          <a:xfrm>
            <a:off x="1200151" y="4005064"/>
            <a:ext cx="4800600" cy="2016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6191251" y="4005064"/>
            <a:ext cx="4800600" cy="2016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966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900360E6-E0D1-4DE3-B7EF-572E88BF987B}" type="datetime1">
              <a:rPr lang="de-CH"/>
              <a:pPr>
                <a:defRPr/>
              </a:pPr>
              <a:t>24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0034A0F2-D3A6-41CD-94FA-346F3252FA64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1214628970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20457940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9256D23-CF6F-4568-8D84-AFC419FB7476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8190765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  <p:sp>
        <p:nvSpPr>
          <p:cNvPr id="6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569718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603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latin typeface="+mj-lt"/>
              </a:defRPr>
            </a:lvl1pPr>
            <a:lvl2pPr marL="536575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536575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536575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536575" indent="-489600">
              <a:spcBef>
                <a:spcPts val="0"/>
              </a:spcBef>
              <a:buNone/>
              <a:defRPr sz="4400"/>
            </a:lvl6pPr>
            <a:lvl7pPr marL="536575" indent="-489600">
              <a:spcBef>
                <a:spcPts val="0"/>
              </a:spcBef>
              <a:buNone/>
              <a:defRPr sz="4400"/>
            </a:lvl7pPr>
            <a:lvl8pPr marL="536575" indent="-489600">
              <a:spcBef>
                <a:spcPts val="0"/>
              </a:spcBef>
              <a:buNone/>
              <a:defRPr sz="4400"/>
            </a:lvl8pPr>
            <a:lvl9pPr marL="536575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1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0373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d/mm/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1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60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192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d/mm/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1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60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0822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r>
              <a:rPr lang="de-CH" noProof="0"/>
              <a:t>Platzieren Sie hier ein Bild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7" y="1412875"/>
            <a:ext cx="5568951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0" indent="-489600">
              <a:spcBef>
                <a:spcPts val="0"/>
              </a:spcBef>
              <a:buNone/>
              <a:defRPr sz="4400"/>
            </a:lvl6pPr>
            <a:lvl7pPr marL="0" indent="-489600">
              <a:spcBef>
                <a:spcPts val="0"/>
              </a:spcBef>
              <a:buNone/>
              <a:defRPr sz="4400"/>
            </a:lvl7pPr>
            <a:lvl8pPr marL="0" indent="-489600">
              <a:spcBef>
                <a:spcPts val="0"/>
              </a:spcBef>
              <a:buNone/>
              <a:defRPr sz="4400"/>
            </a:lvl8pPr>
            <a:lvl9pPr marL="0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 bwMode="gray">
          <a:xfrm>
            <a:off x="1198034" y="3860810"/>
            <a:ext cx="4897967" cy="1368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209617" y="1407959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Bildplatzhalter 1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209617" y="3357563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7428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227" y="260569"/>
            <a:ext cx="10465453" cy="11521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4152B43-0D93-45A1-BE43-5405A99BCA7F}" type="slidenum">
              <a:rPr lang="en-GB" smtClean="0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9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 u="sng"/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832057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uf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d/mm/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152B43-0D93-45A1-BE43-5405A99BCA7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9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None/>
              <a:defRPr sz="1200" u="sng">
                <a:solidFill>
                  <a:schemeClr val="bg1"/>
                </a:solidFill>
              </a:defRPr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60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8961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90B452-A44A-4E43-95CC-332CC049A783}" type="slidenum">
              <a:rPr lang="de-DE" altLang="de-DE" smtClean="0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1155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1200150" y="1700809"/>
            <a:ext cx="9792395" cy="460923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8151841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72CDD404-C64A-4714-B349-0177F9317ABB}" type="datetime1">
              <a:rPr lang="de-CH"/>
              <a:pPr>
                <a:defRPr/>
              </a:pPr>
              <a:t>24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F158ED98-28E3-4B75-BBE0-1823A54BB00E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2676043910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err="1"/>
              <a:t>Formatvorlage</a:t>
            </a:r>
            <a:r>
              <a:rPr lang="en-GB" noProof="0"/>
              <a:t> des </a:t>
            </a:r>
            <a:r>
              <a:rPr lang="en-GB" noProof="0" err="1"/>
              <a:t>Untertitelmasters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1240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4768989B-B83C-4FC0-8436-4339C8264BB7}" type="datetime1">
              <a:rPr lang="de-CH" smtClean="0"/>
              <a:pPr>
                <a:buClr>
                  <a:srgbClr val="11AAFF"/>
                </a:buClr>
              </a:pPr>
              <a:t>24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D0CB33D5-05CC-4937-B9F5-3343F9D4E6DF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178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16567EE0-E1CB-43D0-9CC0-7EA6161DD1A3}" type="datetime1">
              <a:rPr lang="de-CH" smtClean="0"/>
              <a:pPr>
                <a:buClr>
                  <a:srgbClr val="11AAFF"/>
                </a:buClr>
              </a:pPr>
              <a:t>24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3A0DA8EC-3B94-4BEF-8866-8D298156BB53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412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F756986E-35CA-4A6B-9087-451DB6177564}" type="datetime1">
              <a:rPr lang="de-CH" smtClean="0"/>
              <a:pPr>
                <a:buClr>
                  <a:srgbClr val="11AAFF"/>
                </a:buClr>
              </a:pPr>
              <a:t>24.07.2023</a:t>
            </a:fld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6CBBF518-836D-4A07-8BA7-61EE55A113C9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05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3B2F4CBC-53F0-4CC8-A98F-80D9B1813E24}" type="datetime1">
              <a:rPr lang="de-CH" smtClean="0"/>
              <a:pPr>
                <a:buClr>
                  <a:srgbClr val="11AAFF"/>
                </a:buClr>
              </a:pPr>
              <a:t>24.07.2023</a:t>
            </a:fld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1ABABF94-A49A-4E70-886F-868B881E347E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97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sp>
        <p:nvSpPr>
          <p:cNvPr id="8" name="Freeform 6"/>
          <p:cNvSpPr>
            <a:spLocks/>
          </p:cNvSpPr>
          <p:nvPr/>
        </p:nvSpPr>
        <p:spPr bwMode="auto">
          <a:xfrm flipH="1">
            <a:off x="-1" y="5243270"/>
            <a:ext cx="11004551" cy="1336918"/>
          </a:xfrm>
          <a:custGeom>
            <a:avLst/>
            <a:gdLst>
              <a:gd name="T0" fmla="*/ 9 w 744"/>
              <a:gd name="T1" fmla="*/ 73 h 134"/>
              <a:gd name="T2" fmla="*/ 20 w 744"/>
              <a:gd name="T3" fmla="*/ 67 h 134"/>
              <a:gd name="T4" fmla="*/ 28 w 744"/>
              <a:gd name="T5" fmla="*/ 74 h 134"/>
              <a:gd name="T6" fmla="*/ 35 w 744"/>
              <a:gd name="T7" fmla="*/ 83 h 134"/>
              <a:gd name="T8" fmla="*/ 53 w 744"/>
              <a:gd name="T9" fmla="*/ 69 h 134"/>
              <a:gd name="T10" fmla="*/ 71 w 744"/>
              <a:gd name="T11" fmla="*/ 21 h 134"/>
              <a:gd name="T12" fmla="*/ 98 w 744"/>
              <a:gd name="T13" fmla="*/ 134 h 134"/>
              <a:gd name="T14" fmla="*/ 106 w 744"/>
              <a:gd name="T15" fmla="*/ 113 h 134"/>
              <a:gd name="T16" fmla="*/ 98 w 744"/>
              <a:gd name="T17" fmla="*/ 105 h 134"/>
              <a:gd name="T18" fmla="*/ 105 w 744"/>
              <a:gd name="T19" fmla="*/ 87 h 134"/>
              <a:gd name="T20" fmla="*/ 98 w 744"/>
              <a:gd name="T21" fmla="*/ 79 h 134"/>
              <a:gd name="T22" fmla="*/ 105 w 744"/>
              <a:gd name="T23" fmla="*/ 59 h 134"/>
              <a:gd name="T24" fmla="*/ 98 w 744"/>
              <a:gd name="T25" fmla="*/ 51 h 134"/>
              <a:gd name="T26" fmla="*/ 105 w 744"/>
              <a:gd name="T27" fmla="*/ 25 h 134"/>
              <a:gd name="T28" fmla="*/ 116 w 744"/>
              <a:gd name="T29" fmla="*/ 73 h 134"/>
              <a:gd name="T30" fmla="*/ 146 w 744"/>
              <a:gd name="T31" fmla="*/ 39 h 134"/>
              <a:gd name="T32" fmla="*/ 192 w 744"/>
              <a:gd name="T33" fmla="*/ 89 h 134"/>
              <a:gd name="T34" fmla="*/ 206 w 744"/>
              <a:gd name="T35" fmla="*/ 64 h 134"/>
              <a:gd name="T36" fmla="*/ 229 w 744"/>
              <a:gd name="T37" fmla="*/ 89 h 134"/>
              <a:gd name="T38" fmla="*/ 236 w 744"/>
              <a:gd name="T39" fmla="*/ 56 h 134"/>
              <a:gd name="T40" fmla="*/ 285 w 744"/>
              <a:gd name="T41" fmla="*/ 88 h 134"/>
              <a:gd name="T42" fmla="*/ 291 w 744"/>
              <a:gd name="T43" fmla="*/ 41 h 134"/>
              <a:gd name="T44" fmla="*/ 326 w 744"/>
              <a:gd name="T45" fmla="*/ 79 h 134"/>
              <a:gd name="T46" fmla="*/ 344 w 744"/>
              <a:gd name="T47" fmla="*/ 49 h 134"/>
              <a:gd name="T48" fmla="*/ 354 w 744"/>
              <a:gd name="T49" fmla="*/ 22 h 134"/>
              <a:gd name="T50" fmla="*/ 374 w 744"/>
              <a:gd name="T51" fmla="*/ 48 h 134"/>
              <a:gd name="T52" fmla="*/ 383 w 744"/>
              <a:gd name="T53" fmla="*/ 81 h 134"/>
              <a:gd name="T54" fmla="*/ 415 w 744"/>
              <a:gd name="T55" fmla="*/ 40 h 134"/>
              <a:gd name="T56" fmla="*/ 470 w 744"/>
              <a:gd name="T57" fmla="*/ 101 h 134"/>
              <a:gd name="T58" fmla="*/ 521 w 744"/>
              <a:gd name="T59" fmla="*/ 79 h 134"/>
              <a:gd name="T60" fmla="*/ 554 w 744"/>
              <a:gd name="T61" fmla="*/ 6 h 134"/>
              <a:gd name="T62" fmla="*/ 561 w 744"/>
              <a:gd name="T63" fmla="*/ 0 h 134"/>
              <a:gd name="T64" fmla="*/ 571 w 744"/>
              <a:gd name="T65" fmla="*/ 6 h 134"/>
              <a:gd name="T66" fmla="*/ 595 w 744"/>
              <a:gd name="T67" fmla="*/ 6 h 134"/>
              <a:gd name="T68" fmla="*/ 606 w 744"/>
              <a:gd name="T69" fmla="*/ 0 h 134"/>
              <a:gd name="T70" fmla="*/ 612 w 744"/>
              <a:gd name="T71" fmla="*/ 6 h 134"/>
              <a:gd name="T72" fmla="*/ 649 w 744"/>
              <a:gd name="T73" fmla="*/ 92 h 134"/>
              <a:gd name="T74" fmla="*/ 705 w 744"/>
              <a:gd name="T75" fmla="*/ 77 h 134"/>
              <a:gd name="T76" fmla="*/ 731 w 744"/>
              <a:gd name="T77" fmla="*/ 92 h 134"/>
              <a:gd name="T78" fmla="*/ 737 w 744"/>
              <a:gd name="T79" fmla="*/ 31 h 134"/>
              <a:gd name="T80" fmla="*/ 744 w 744"/>
              <a:gd name="T81" fmla="*/ 16 h 134"/>
              <a:gd name="T82" fmla="*/ 0 w 744"/>
              <a:gd name="T83" fmla="*/ 134 h 134"/>
              <a:gd name="T84" fmla="*/ 9 w 744"/>
              <a:gd name="T85" fmla="*/ 81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rgbClr val="001155"/>
              </a:solidFill>
            </a:endParaRPr>
          </a:p>
        </p:txBody>
      </p: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191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0"/>
          <p:cNvGrpSpPr>
            <a:grpSpLocks noChangeAspect="1"/>
          </p:cNvGrpSpPr>
          <p:nvPr/>
        </p:nvGrpSpPr>
        <p:grpSpPr bwMode="auto">
          <a:xfrm>
            <a:off x="-9950" y="4677841"/>
            <a:ext cx="11014499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 userDrawn="1"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179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Freeform 17"/>
          <p:cNvSpPr>
            <a:spLocks/>
          </p:cNvSpPr>
          <p:nvPr/>
        </p:nvSpPr>
        <p:spPr bwMode="auto">
          <a:xfrm>
            <a:off x="0" y="5002829"/>
            <a:ext cx="11059584" cy="1576387"/>
          </a:xfrm>
          <a:custGeom>
            <a:avLst/>
            <a:gdLst>
              <a:gd name="T0" fmla="*/ 1314 w 2880"/>
              <a:gd name="T1" fmla="*/ 512 h 545"/>
              <a:gd name="T2" fmla="*/ 1202 w 2880"/>
              <a:gd name="T3" fmla="*/ 512 h 545"/>
              <a:gd name="T4" fmla="*/ 1084 w 2880"/>
              <a:gd name="T5" fmla="*/ 512 h 545"/>
              <a:gd name="T6" fmla="*/ 972 w 2880"/>
              <a:gd name="T7" fmla="*/ 512 h 545"/>
              <a:gd name="T8" fmla="*/ 0 w 2880"/>
              <a:gd name="T9" fmla="*/ 173 h 545"/>
              <a:gd name="T10" fmla="*/ 159 w 2880"/>
              <a:gd name="T11" fmla="*/ 259 h 545"/>
              <a:gd name="T12" fmla="*/ 276 w 2880"/>
              <a:gd name="T13" fmla="*/ 346 h 545"/>
              <a:gd name="T14" fmla="*/ 399 w 2880"/>
              <a:gd name="T15" fmla="*/ 354 h 545"/>
              <a:gd name="T16" fmla="*/ 435 w 2880"/>
              <a:gd name="T17" fmla="*/ 258 h 545"/>
              <a:gd name="T18" fmla="*/ 457 w 2880"/>
              <a:gd name="T19" fmla="*/ 209 h 545"/>
              <a:gd name="T20" fmla="*/ 532 w 2880"/>
              <a:gd name="T21" fmla="*/ 204 h 545"/>
              <a:gd name="T22" fmla="*/ 583 w 2880"/>
              <a:gd name="T23" fmla="*/ 375 h 545"/>
              <a:gd name="T24" fmla="*/ 620 w 2880"/>
              <a:gd name="T25" fmla="*/ 298 h 545"/>
              <a:gd name="T26" fmla="*/ 656 w 2880"/>
              <a:gd name="T27" fmla="*/ 258 h 545"/>
              <a:gd name="T28" fmla="*/ 718 w 2880"/>
              <a:gd name="T29" fmla="*/ 272 h 545"/>
              <a:gd name="T30" fmla="*/ 718 w 2880"/>
              <a:gd name="T31" fmla="*/ 310 h 545"/>
              <a:gd name="T32" fmla="*/ 751 w 2880"/>
              <a:gd name="T33" fmla="*/ 388 h 545"/>
              <a:gd name="T34" fmla="*/ 917 w 2880"/>
              <a:gd name="T35" fmla="*/ 375 h 545"/>
              <a:gd name="T36" fmla="*/ 964 w 2880"/>
              <a:gd name="T37" fmla="*/ 395 h 545"/>
              <a:gd name="T38" fmla="*/ 1021 w 2880"/>
              <a:gd name="T39" fmla="*/ 419 h 545"/>
              <a:gd name="T40" fmla="*/ 1084 w 2880"/>
              <a:gd name="T41" fmla="*/ 412 h 545"/>
              <a:gd name="T42" fmla="*/ 1175 w 2880"/>
              <a:gd name="T43" fmla="*/ 415 h 545"/>
              <a:gd name="T44" fmla="*/ 1210 w 2880"/>
              <a:gd name="T45" fmla="*/ 497 h 545"/>
              <a:gd name="T46" fmla="*/ 1225 w 2880"/>
              <a:gd name="T47" fmla="*/ 443 h 545"/>
              <a:gd name="T48" fmla="*/ 1280 w 2880"/>
              <a:gd name="T49" fmla="*/ 406 h 545"/>
              <a:gd name="T50" fmla="*/ 1349 w 2880"/>
              <a:gd name="T51" fmla="*/ 406 h 545"/>
              <a:gd name="T52" fmla="*/ 1369 w 2880"/>
              <a:gd name="T53" fmla="*/ 396 h 545"/>
              <a:gd name="T54" fmla="*/ 1415 w 2880"/>
              <a:gd name="T55" fmla="*/ 355 h 545"/>
              <a:gd name="T56" fmla="*/ 1548 w 2880"/>
              <a:gd name="T57" fmla="*/ 307 h 545"/>
              <a:gd name="T58" fmla="*/ 1550 w 2880"/>
              <a:gd name="T59" fmla="*/ 271 h 545"/>
              <a:gd name="T60" fmla="*/ 1559 w 2880"/>
              <a:gd name="T61" fmla="*/ 272 h 545"/>
              <a:gd name="T62" fmla="*/ 1562 w 2880"/>
              <a:gd name="T63" fmla="*/ 306 h 545"/>
              <a:gd name="T64" fmla="*/ 1616 w 2880"/>
              <a:gd name="T65" fmla="*/ 375 h 545"/>
              <a:gd name="T66" fmla="*/ 1696 w 2880"/>
              <a:gd name="T67" fmla="*/ 321 h 545"/>
              <a:gd name="T68" fmla="*/ 1704 w 2880"/>
              <a:gd name="T69" fmla="*/ 166 h 545"/>
              <a:gd name="T70" fmla="*/ 1725 w 2880"/>
              <a:gd name="T71" fmla="*/ 104 h 545"/>
              <a:gd name="T72" fmla="*/ 1778 w 2880"/>
              <a:gd name="T73" fmla="*/ 83 h 545"/>
              <a:gd name="T74" fmla="*/ 1786 w 2880"/>
              <a:gd name="T75" fmla="*/ 164 h 545"/>
              <a:gd name="T76" fmla="*/ 1802 w 2880"/>
              <a:gd name="T77" fmla="*/ 257 h 545"/>
              <a:gd name="T78" fmla="*/ 1805 w 2880"/>
              <a:gd name="T79" fmla="*/ 104 h 545"/>
              <a:gd name="T80" fmla="*/ 1844 w 2880"/>
              <a:gd name="T81" fmla="*/ 58 h 545"/>
              <a:gd name="T82" fmla="*/ 1878 w 2880"/>
              <a:gd name="T83" fmla="*/ 104 h 545"/>
              <a:gd name="T84" fmla="*/ 1886 w 2880"/>
              <a:gd name="T85" fmla="*/ 258 h 545"/>
              <a:gd name="T86" fmla="*/ 2018 w 2880"/>
              <a:gd name="T87" fmla="*/ 241 h 545"/>
              <a:gd name="T88" fmla="*/ 2028 w 2880"/>
              <a:gd name="T89" fmla="*/ 192 h 545"/>
              <a:gd name="T90" fmla="*/ 2035 w 2880"/>
              <a:gd name="T91" fmla="*/ 150 h 545"/>
              <a:gd name="T92" fmla="*/ 2051 w 2880"/>
              <a:gd name="T93" fmla="*/ 192 h 545"/>
              <a:gd name="T94" fmla="*/ 2064 w 2880"/>
              <a:gd name="T95" fmla="*/ 241 h 545"/>
              <a:gd name="T96" fmla="*/ 2077 w 2880"/>
              <a:gd name="T97" fmla="*/ 258 h 545"/>
              <a:gd name="T98" fmla="*/ 2136 w 2880"/>
              <a:gd name="T99" fmla="*/ 333 h 545"/>
              <a:gd name="T100" fmla="*/ 2221 w 2880"/>
              <a:gd name="T101" fmla="*/ 363 h 545"/>
              <a:gd name="T102" fmla="*/ 2295 w 2880"/>
              <a:gd name="T103" fmla="*/ 391 h 545"/>
              <a:gd name="T104" fmla="*/ 2377 w 2880"/>
              <a:gd name="T105" fmla="*/ 363 h 545"/>
              <a:gd name="T106" fmla="*/ 2419 w 2880"/>
              <a:gd name="T107" fmla="*/ 423 h 545"/>
              <a:gd name="T108" fmla="*/ 2557 w 2880"/>
              <a:gd name="T109" fmla="*/ 311 h 545"/>
              <a:gd name="T110" fmla="*/ 2647 w 2880"/>
              <a:gd name="T111" fmla="*/ 326 h 545"/>
              <a:gd name="T112" fmla="*/ 2707 w 2880"/>
              <a:gd name="T113" fmla="*/ 386 h 545"/>
              <a:gd name="T114" fmla="*/ 2800 w 2880"/>
              <a:gd name="T115" fmla="*/ 481 h 545"/>
              <a:gd name="T116" fmla="*/ 2880 w 2880"/>
              <a:gd name="T117" fmla="*/ 471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8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Freeform 5"/>
          <p:cNvSpPr>
            <a:spLocks/>
          </p:cNvSpPr>
          <p:nvPr/>
        </p:nvSpPr>
        <p:spPr bwMode="auto">
          <a:xfrm>
            <a:off x="21167" y="5022218"/>
            <a:ext cx="11004549" cy="1550358"/>
          </a:xfrm>
          <a:custGeom>
            <a:avLst/>
            <a:gdLst>
              <a:gd name="T0" fmla="*/ 565 w 2915"/>
              <a:gd name="T1" fmla="*/ 281 h 545"/>
              <a:gd name="T2" fmla="*/ 697 w 2915"/>
              <a:gd name="T3" fmla="*/ 334 h 545"/>
              <a:gd name="T4" fmla="*/ 796 w 2915"/>
              <a:gd name="T5" fmla="*/ 287 h 545"/>
              <a:gd name="T6" fmla="*/ 824 w 2915"/>
              <a:gd name="T7" fmla="*/ 304 h 545"/>
              <a:gd name="T8" fmla="*/ 847 w 2915"/>
              <a:gd name="T9" fmla="*/ 206 h 545"/>
              <a:gd name="T10" fmla="*/ 924 w 2915"/>
              <a:gd name="T11" fmla="*/ 205 h 545"/>
              <a:gd name="T12" fmla="*/ 1017 w 2915"/>
              <a:gd name="T13" fmla="*/ 375 h 545"/>
              <a:gd name="T14" fmla="*/ 1017 w 2915"/>
              <a:gd name="T15" fmla="*/ 286 h 545"/>
              <a:gd name="T16" fmla="*/ 1058 w 2915"/>
              <a:gd name="T17" fmla="*/ 180 h 545"/>
              <a:gd name="T18" fmla="*/ 1096 w 2915"/>
              <a:gd name="T19" fmla="*/ 286 h 545"/>
              <a:gd name="T20" fmla="*/ 1096 w 2915"/>
              <a:gd name="T21" fmla="*/ 403 h 545"/>
              <a:gd name="T22" fmla="*/ 1167 w 2915"/>
              <a:gd name="T23" fmla="*/ 388 h 545"/>
              <a:gd name="T24" fmla="*/ 1295 w 2915"/>
              <a:gd name="T25" fmla="*/ 383 h 545"/>
              <a:gd name="T26" fmla="*/ 1342 w 2915"/>
              <a:gd name="T27" fmla="*/ 435 h 545"/>
              <a:gd name="T28" fmla="*/ 1414 w 2915"/>
              <a:gd name="T29" fmla="*/ 431 h 545"/>
              <a:gd name="T30" fmla="*/ 1482 w 2915"/>
              <a:gd name="T31" fmla="*/ 429 h 545"/>
              <a:gd name="T32" fmla="*/ 1566 w 2915"/>
              <a:gd name="T33" fmla="*/ 427 h 545"/>
              <a:gd name="T34" fmla="*/ 1624 w 2915"/>
              <a:gd name="T35" fmla="*/ 497 h 545"/>
              <a:gd name="T36" fmla="*/ 1629 w 2915"/>
              <a:gd name="T37" fmla="*/ 427 h 545"/>
              <a:gd name="T38" fmla="*/ 1677 w 2915"/>
              <a:gd name="T39" fmla="*/ 390 h 545"/>
              <a:gd name="T40" fmla="*/ 1727 w 2915"/>
              <a:gd name="T41" fmla="*/ 431 h 545"/>
              <a:gd name="T42" fmla="*/ 1768 w 2915"/>
              <a:gd name="T43" fmla="*/ 375 h 545"/>
              <a:gd name="T44" fmla="*/ 1823 w 2915"/>
              <a:gd name="T45" fmla="*/ 329 h 545"/>
              <a:gd name="T46" fmla="*/ 1918 w 2915"/>
              <a:gd name="T47" fmla="*/ 307 h 545"/>
              <a:gd name="T48" fmla="*/ 1928 w 2915"/>
              <a:gd name="T49" fmla="*/ 244 h 545"/>
              <a:gd name="T50" fmla="*/ 1947 w 2915"/>
              <a:gd name="T51" fmla="*/ 272 h 545"/>
              <a:gd name="T52" fmla="*/ 1940 w 2915"/>
              <a:gd name="T53" fmla="*/ 329 h 545"/>
              <a:gd name="T54" fmla="*/ 2054 w 2915"/>
              <a:gd name="T55" fmla="*/ 375 h 545"/>
              <a:gd name="T56" fmla="*/ 2074 w 2915"/>
              <a:gd name="T57" fmla="*/ 258 h 545"/>
              <a:gd name="T58" fmla="*/ 2091 w 2915"/>
              <a:gd name="T59" fmla="*/ 166 h 545"/>
              <a:gd name="T60" fmla="*/ 2103 w 2915"/>
              <a:gd name="T61" fmla="*/ 83 h 545"/>
              <a:gd name="T62" fmla="*/ 2156 w 2915"/>
              <a:gd name="T63" fmla="*/ 104 h 545"/>
              <a:gd name="T64" fmla="*/ 2171 w 2915"/>
              <a:gd name="T65" fmla="*/ 164 h 545"/>
              <a:gd name="T66" fmla="*/ 2180 w 2915"/>
              <a:gd name="T67" fmla="*/ 164 h 545"/>
              <a:gd name="T68" fmla="*/ 2197 w 2915"/>
              <a:gd name="T69" fmla="*/ 104 h 545"/>
              <a:gd name="T70" fmla="*/ 2250 w 2915"/>
              <a:gd name="T71" fmla="*/ 83 h 545"/>
              <a:gd name="T72" fmla="*/ 2256 w 2915"/>
              <a:gd name="T73" fmla="*/ 167 h 545"/>
              <a:gd name="T74" fmla="*/ 2406 w 2915"/>
              <a:gd name="T75" fmla="*/ 258 h 545"/>
              <a:gd name="T76" fmla="*/ 2396 w 2915"/>
              <a:gd name="T77" fmla="*/ 230 h 545"/>
              <a:gd name="T78" fmla="*/ 2413 w 2915"/>
              <a:gd name="T79" fmla="*/ 192 h 545"/>
              <a:gd name="T80" fmla="*/ 2424 w 2915"/>
              <a:gd name="T81" fmla="*/ 150 h 545"/>
              <a:gd name="T82" fmla="*/ 2429 w 2915"/>
              <a:gd name="T83" fmla="*/ 230 h 545"/>
              <a:gd name="T84" fmla="*/ 2429 w 2915"/>
              <a:gd name="T85" fmla="*/ 241 h 545"/>
              <a:gd name="T86" fmla="*/ 2482 w 2915"/>
              <a:gd name="T87" fmla="*/ 286 h 545"/>
              <a:gd name="T88" fmla="*/ 2556 w 2915"/>
              <a:gd name="T89" fmla="*/ 333 h 545"/>
              <a:gd name="T90" fmla="*/ 2599 w 2915"/>
              <a:gd name="T91" fmla="*/ 343 h 545"/>
              <a:gd name="T92" fmla="*/ 2770 w 2915"/>
              <a:gd name="T93" fmla="*/ 391 h 545"/>
              <a:gd name="T94" fmla="*/ 2819 w 2915"/>
              <a:gd name="T95" fmla="*/ 453 h 545"/>
              <a:gd name="T96" fmla="*/ 2915 w 2915"/>
              <a:gd name="T97" fmla="*/ 423 h 545"/>
              <a:gd name="T98" fmla="*/ 1692 w 2915"/>
              <a:gd name="T99" fmla="*/ 512 h 545"/>
              <a:gd name="T100" fmla="*/ 1580 w 2915"/>
              <a:gd name="T101" fmla="*/ 512 h 545"/>
              <a:gd name="T102" fmla="*/ 1462 w 2915"/>
              <a:gd name="T103" fmla="*/ 512 h 545"/>
              <a:gd name="T104" fmla="*/ 1350 w 2915"/>
              <a:gd name="T105" fmla="*/ 512 h 545"/>
              <a:gd name="T106" fmla="*/ 0 w 2915"/>
              <a:gd name="T107" fmla="*/ 29 h 545"/>
              <a:gd name="T108" fmla="*/ 122 w 2915"/>
              <a:gd name="T109" fmla="*/ 152 h 545"/>
              <a:gd name="T110" fmla="*/ 187 w 2915"/>
              <a:gd name="T111" fmla="*/ 171 h 545"/>
              <a:gd name="T112" fmla="*/ 309 w 2915"/>
              <a:gd name="T113" fmla="*/ 130 h 545"/>
              <a:gd name="T114" fmla="*/ 490 w 2915"/>
              <a:gd name="T115" fmla="*/ 259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91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  <a:endParaRPr lang="en-GB" altLang="de-DE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  <a:endParaRPr lang="en-GB" altLang="de-DE" noProof="0"/>
          </a:p>
        </p:txBody>
      </p:sp>
    </p:spTree>
    <p:extLst>
      <p:ext uri="{BB962C8B-B14F-4D97-AF65-F5344CB8AC3E}">
        <p14:creationId xmlns:p14="http://schemas.microsoft.com/office/powerpoint/2010/main" val="3082523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8B03BE22-0403-424A-9D5A-EB0429EDEE27}" type="datetime1">
              <a:rPr lang="de-CH"/>
              <a:pPr>
                <a:defRPr/>
              </a:pPr>
              <a:t>24.07.2023</a:t>
            </a:fld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37278AF2-1EA1-497D-9BF6-DE9CF01DB9CA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1350938835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331BB88-B64E-4F87-B7BA-C7F0D5AA36CE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3477822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A31BF8-EAAD-4C00-9914-890E882E5A62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4418940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3CA2120-0E62-4712-8D6B-4335EA1C6FC3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3097003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E54559B-B187-43E3-8564-19F38DFDB047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3111762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EAE5C9-B0E1-4ECD-BCC7-FAE5CACE1137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6828643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D48744-5288-45AD-AE5F-C3DB092490A5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6749002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5D8147-0AD4-429F-A157-199D6CFAC5AA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9031766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ACBF4F-1939-43FF-A860-0BFC513337AF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4365440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ACF898-5135-498C-A034-5A8E2E980821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1609066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375651" y="269875"/>
            <a:ext cx="2616200" cy="58562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269875"/>
            <a:ext cx="7645400" cy="58562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2E4D31-62A4-41C5-B846-56D70908F69E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489795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1FA1DF22-6CC5-493D-80A5-9F39113199D3}" type="datetime1">
              <a:rPr lang="de-CH"/>
              <a:pPr>
                <a:defRPr/>
              </a:pPr>
              <a:t>24.07.2023</a:t>
            </a:fld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6C8A606E-DB8A-49FE-BEFB-15194447AE71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3410240351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4" y="283"/>
            <a:ext cx="12190993" cy="685743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200151" y="1773238"/>
            <a:ext cx="8736276" cy="1584326"/>
          </a:xfrm>
          <a:prstGeom prst="rect">
            <a:avLst/>
          </a:prstGeom>
        </p:spPr>
        <p:txBody>
          <a:bodyPr bIns="126000" anchor="b"/>
          <a:lstStyle>
            <a:lvl1pPr marL="0" indent="0">
              <a:lnSpc>
                <a:spcPct val="900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560" y="5652279"/>
            <a:ext cx="1728000" cy="958960"/>
          </a:xfrm>
          <a:prstGeom prst="rect">
            <a:avLst/>
          </a:prstGeom>
        </p:spPr>
      </p:pic>
      <p:sp>
        <p:nvSpPr>
          <p:cNvPr id="9" name="Line 11"/>
          <p:cNvSpPr>
            <a:spLocks noChangeShapeType="1"/>
          </p:cNvSpPr>
          <p:nvPr userDrawn="1"/>
        </p:nvSpPr>
        <p:spPr bwMode="gray">
          <a:xfrm>
            <a:off x="1200152" y="3357563"/>
            <a:ext cx="489584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200151" y="3573464"/>
            <a:ext cx="4895848" cy="1223689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288"/>
              </a:spcBef>
              <a:buNone/>
              <a:defRPr sz="1200">
                <a:solidFill>
                  <a:schemeClr val="tx1"/>
                </a:solidFill>
              </a:defRPr>
            </a:lvl1pPr>
            <a:lvl2pPr marL="3175" indent="0" algn="l">
              <a:buNone/>
              <a:defRPr sz="1200">
                <a:solidFill>
                  <a:schemeClr val="tx1"/>
                </a:solidFill>
              </a:defRPr>
            </a:lvl2pPr>
            <a:lvl3pPr marL="3175" indent="0" algn="l">
              <a:buNone/>
              <a:defRPr sz="1200">
                <a:solidFill>
                  <a:schemeClr val="tx1"/>
                </a:solidFill>
              </a:defRPr>
            </a:lvl3pPr>
            <a:lvl4pPr marL="3175" indent="0" algn="l">
              <a:buNone/>
              <a:defRPr sz="1200">
                <a:solidFill>
                  <a:schemeClr val="tx1"/>
                </a:solidFill>
              </a:defRPr>
            </a:lvl4pPr>
            <a:lvl5pPr marL="3175" indent="0" algn="l">
              <a:buNone/>
              <a:defRPr sz="1200">
                <a:solidFill>
                  <a:schemeClr val="tx1"/>
                </a:solidFill>
              </a:defRPr>
            </a:lvl5pPr>
            <a:lvl6pPr marL="3175" indent="0" algn="l">
              <a:buNone/>
              <a:defRPr sz="1200">
                <a:solidFill>
                  <a:schemeClr val="tx1"/>
                </a:solidFill>
              </a:defRPr>
            </a:lvl6pPr>
            <a:lvl7pPr marL="3175" indent="0" algn="l">
              <a:buNone/>
              <a:defRPr sz="1200">
                <a:solidFill>
                  <a:schemeClr val="tx1"/>
                </a:solidFill>
              </a:defRPr>
            </a:lvl7pPr>
            <a:lvl8pPr marL="3175" indent="0" algn="l">
              <a:buNone/>
              <a:defRPr sz="1200">
                <a:solidFill>
                  <a:schemeClr val="tx1"/>
                </a:solidFill>
              </a:defRPr>
            </a:lvl8pPr>
            <a:lvl9pPr marL="3175" indent="0" algn="l"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3215320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 tIns="0" rIns="0" bIns="108000"/>
          <a:lstStyle>
            <a:lvl1pPr marL="490538" indent="-490538">
              <a:defRPr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200150" y="1772770"/>
            <a:ext cx="9791700" cy="4248618"/>
          </a:xfrm>
          <a:prstGeom prst="rect">
            <a:avLst/>
          </a:prstGeom>
        </p:spPr>
        <p:txBody>
          <a:bodyPr/>
          <a:lstStyle>
            <a:lvl1pPr marL="182563" indent="-182563">
              <a:defRPr/>
            </a:lvl1pPr>
            <a:lvl2pPr marL="539750" indent="-182563">
              <a:defRPr/>
            </a:lvl2pPr>
            <a:lvl3pPr marL="898525" indent="-184150">
              <a:defRPr/>
            </a:lvl3pPr>
            <a:lvl4pPr marL="1255713" indent="-184150">
              <a:defRPr/>
            </a:lvl4pPr>
            <a:lvl5pPr marL="1612900" indent="-174625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75F937F-578B-432D-B413-03DE4E4B2A9B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441810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8"/>
            <a:ext cx="4799836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92014" y="1773238"/>
            <a:ext cx="4799837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524472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8"/>
            <a:ext cx="4799836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38"/>
            <a:ext cx="4800600" cy="42481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220336469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8"/>
            <a:ext cx="4799836" cy="2303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82563" indent="-182563">
              <a:buClr>
                <a:schemeClr val="accent2"/>
              </a:buClr>
              <a:buFont typeface="Arial" pitchFamily="34" charset="0"/>
              <a:buChar char="•"/>
              <a:defRPr sz="1200"/>
            </a:lvl2pPr>
            <a:lvl3pPr marL="361950" indent="-184150">
              <a:defRPr sz="1200"/>
            </a:lvl3pPr>
            <a:lvl4pPr marL="536575" indent="-184150">
              <a:defRPr sz="1200"/>
            </a:lvl4pPr>
            <a:lvl5pPr marL="714375" indent="-182563">
              <a:defRPr sz="1200"/>
            </a:lvl5pPr>
            <a:lvl6pPr marL="714375" indent="-174625">
              <a:defRPr sz="1200"/>
            </a:lvl6pPr>
            <a:lvl7pPr marL="714375" indent="-174625">
              <a:defRPr sz="1200"/>
            </a:lvl7pPr>
            <a:lvl8pPr marL="714375" indent="-174625">
              <a:defRPr sz="1200"/>
            </a:lvl8pPr>
            <a:lvl9pPr marL="714375" indent="-174625">
              <a:defRPr sz="12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38"/>
            <a:ext cx="4800600" cy="23038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943840" y="4220564"/>
            <a:ext cx="604801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196143" y="4220564"/>
            <a:ext cx="355567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3677906620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7"/>
          </p:nvPr>
        </p:nvSpPr>
        <p:spPr>
          <a:xfrm>
            <a:off x="1200151" y="1773239"/>
            <a:ext cx="4800600" cy="208780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6191251" y="1773239"/>
            <a:ext cx="4800600" cy="208780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9"/>
          </p:nvPr>
        </p:nvSpPr>
        <p:spPr>
          <a:xfrm>
            <a:off x="12001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61912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79632554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1400737647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9256D23-CF6F-4568-8D84-AFC419FB7476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18184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  <p:sp>
        <p:nvSpPr>
          <p:cNvPr id="6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569699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864584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latin typeface="+mj-lt"/>
              </a:defRPr>
            </a:lvl1pPr>
            <a:lvl2pPr marL="536575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536575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536575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536575" indent="-489600">
              <a:spcBef>
                <a:spcPts val="0"/>
              </a:spcBef>
              <a:buNone/>
              <a:defRPr sz="4400"/>
            </a:lvl6pPr>
            <a:lvl7pPr marL="536575" indent="-489600">
              <a:spcBef>
                <a:spcPts val="0"/>
              </a:spcBef>
              <a:buNone/>
              <a:defRPr sz="4400"/>
            </a:lvl7pPr>
            <a:lvl8pPr marL="536575" indent="-489600">
              <a:spcBef>
                <a:spcPts val="0"/>
              </a:spcBef>
              <a:buNone/>
              <a:defRPr sz="4400"/>
            </a:lvl8pPr>
            <a:lvl9pPr marL="536575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03038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sp>
        <p:nvSpPr>
          <p:cNvPr id="5" name="Freeform 6"/>
          <p:cNvSpPr>
            <a:spLocks/>
          </p:cNvSpPr>
          <p:nvPr userDrawn="1"/>
        </p:nvSpPr>
        <p:spPr bwMode="auto">
          <a:xfrm flipH="1">
            <a:off x="2" y="5243514"/>
            <a:ext cx="11004551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1749760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prstClr val="white"/>
                </a:solidFill>
              </a:rPr>
              <a:t>DCS Produkt in S-Stack und SAM-Stack</a:t>
            </a:r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585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401818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prstClr val="white"/>
                </a:solidFill>
              </a:rPr>
              <a:t>DCS Produkt in S-Stack und SAM-Stack</a:t>
            </a:r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585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74840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r>
              <a:rPr lang="de-CH" noProof="0"/>
              <a:t>Platzieren Sie hier ein Bild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5568951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0" indent="-489600">
              <a:spcBef>
                <a:spcPts val="0"/>
              </a:spcBef>
              <a:buNone/>
              <a:defRPr sz="4400"/>
            </a:lvl6pPr>
            <a:lvl7pPr marL="0" indent="-489600">
              <a:spcBef>
                <a:spcPts val="0"/>
              </a:spcBef>
              <a:buNone/>
              <a:defRPr sz="4400"/>
            </a:lvl7pPr>
            <a:lvl8pPr marL="0" indent="-489600">
              <a:spcBef>
                <a:spcPts val="0"/>
              </a:spcBef>
              <a:buNone/>
              <a:defRPr sz="4400"/>
            </a:lvl8pPr>
            <a:lvl9pPr marL="0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 bwMode="gray">
          <a:xfrm>
            <a:off x="1198034" y="3860801"/>
            <a:ext cx="4897967" cy="1368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209617" y="1407958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Bildplatzhalter 1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209617" y="3357563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538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227" y="260562"/>
            <a:ext cx="10465453" cy="1152159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4152B43-0D93-45A1-BE43-5405A99BCA7F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8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 u="sng"/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141285450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uf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02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152B43-0D93-45A1-BE43-5405A99BCA7F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prstClr val="white"/>
                </a:solidFill>
              </a:rPr>
              <a:t>DCS Produkt in S-Stack und SAM-Stack</a:t>
            </a:r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8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None/>
              <a:defRPr sz="1200" u="sng">
                <a:solidFill>
                  <a:schemeClr val="bg1"/>
                </a:solidFill>
              </a:defRPr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585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42440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30677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A0F702-B273-45BA-B7F3-9EFAFA12B97D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8217F8-D86A-45A2-8C1C-FA18F320AFE8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3062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62743B-7990-49FF-A91D-0024DEAF61F0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5782BB-B23A-4D49-8F00-8DD27325E86E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0340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33148D-D705-49A6-84A3-BAD08DE50FE5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6CCBED9-E6FE-4EA0-9069-28C2A5EF93F0}" type="slidenum">
              <a:rPr lang="en-GB" smtClean="0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4365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E6794-69ED-40E4-B0D2-8962ABBEE52E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DA455E-EB6E-4703-B493-ACD6F48CAF39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54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0"/>
          <p:cNvGrpSpPr>
            <a:grpSpLocks noChangeAspect="1"/>
          </p:cNvGrpSpPr>
          <p:nvPr userDrawn="1"/>
        </p:nvGrpSpPr>
        <p:grpSpPr bwMode="auto">
          <a:xfrm>
            <a:off x="-9950" y="4677851"/>
            <a:ext cx="11014499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1" name="Freeform 14"/>
            <p:cNvSpPr>
              <a:spLocks noEditPoints="1"/>
            </p:cNvSpPr>
            <p:nvPr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2291519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A2E80F-0B4B-4A01-B381-C19EE3C9EB6C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167CD-ACF3-44E5-96F7-CBD0F02174FE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559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626A88-0AAE-4996-854B-829518FBA3B0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00AEB5-48D3-407A-87AD-5CBD2B7059AD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5695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041C2-87DA-4D44-92B1-64F7CE0A3F3F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A411B-1D2B-4180-A34A-996B547F93F3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6242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58AE75-3CC9-4FF6-818E-43066B0C0BC5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42E68-D785-4F74-9B1C-F917F3652562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8559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F578F1-2C57-4E5C-B960-FC9528F04357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01F4B1-3470-4B5B-9143-12D43DF35AE1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9725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98098E-9D9F-408E-8949-EDCFA445432B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5A5102-5240-4FB8-88A8-0F5B9D2E1A41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5472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375651" y="269875"/>
            <a:ext cx="2616200" cy="58562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269875"/>
            <a:ext cx="7645400" cy="58562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B768F9-B1EE-4C2A-BA46-9ADE6056022A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6F5544-C5AF-40AA-8075-D989F0F346A6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5299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269875"/>
            <a:ext cx="10464800" cy="109855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A3E1EA-63C6-4617-AFEB-6D65F2FB883E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87B80F-341E-4867-AB52-AA4F4DBE4013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2011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altLang="de-DE" noProof="0"/>
              <a:t>Titelmasterformat durch Klicken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altLang="de-DE" noProof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9209953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ED65D3E-9830-4CE2-A92C-D2DE49FD23B3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258926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7"/>
          <p:cNvSpPr>
            <a:spLocks/>
          </p:cNvSpPr>
          <p:nvPr userDrawn="1"/>
        </p:nvSpPr>
        <p:spPr bwMode="auto">
          <a:xfrm>
            <a:off x="0" y="5002214"/>
            <a:ext cx="11059584" cy="1576387"/>
          </a:xfrm>
          <a:custGeom>
            <a:avLst/>
            <a:gdLst>
              <a:gd name="T0" fmla="*/ 2147483647 w 2880"/>
              <a:gd name="T1" fmla="*/ 2147483647 h 545"/>
              <a:gd name="T2" fmla="*/ 2147483647 w 2880"/>
              <a:gd name="T3" fmla="*/ 2147483647 h 545"/>
              <a:gd name="T4" fmla="*/ 2147483647 w 2880"/>
              <a:gd name="T5" fmla="*/ 2147483647 h 545"/>
              <a:gd name="T6" fmla="*/ 2147483647 w 2880"/>
              <a:gd name="T7" fmla="*/ 2147483647 h 545"/>
              <a:gd name="T8" fmla="*/ 0 w 2880"/>
              <a:gd name="T9" fmla="*/ 2147483647 h 545"/>
              <a:gd name="T10" fmla="*/ 2147483647 w 2880"/>
              <a:gd name="T11" fmla="*/ 2147483647 h 545"/>
              <a:gd name="T12" fmla="*/ 2147483647 w 2880"/>
              <a:gd name="T13" fmla="*/ 2147483647 h 545"/>
              <a:gd name="T14" fmla="*/ 2147483647 w 2880"/>
              <a:gd name="T15" fmla="*/ 2147483647 h 545"/>
              <a:gd name="T16" fmla="*/ 2147483647 w 2880"/>
              <a:gd name="T17" fmla="*/ 2147483647 h 545"/>
              <a:gd name="T18" fmla="*/ 2147483647 w 2880"/>
              <a:gd name="T19" fmla="*/ 2147483647 h 545"/>
              <a:gd name="T20" fmla="*/ 2147483647 w 2880"/>
              <a:gd name="T21" fmla="*/ 2147483647 h 545"/>
              <a:gd name="T22" fmla="*/ 2147483647 w 2880"/>
              <a:gd name="T23" fmla="*/ 2147483647 h 545"/>
              <a:gd name="T24" fmla="*/ 2147483647 w 2880"/>
              <a:gd name="T25" fmla="*/ 2147483647 h 545"/>
              <a:gd name="T26" fmla="*/ 2147483647 w 2880"/>
              <a:gd name="T27" fmla="*/ 2147483647 h 545"/>
              <a:gd name="T28" fmla="*/ 2147483647 w 2880"/>
              <a:gd name="T29" fmla="*/ 2147483647 h 545"/>
              <a:gd name="T30" fmla="*/ 2147483647 w 2880"/>
              <a:gd name="T31" fmla="*/ 2147483647 h 545"/>
              <a:gd name="T32" fmla="*/ 2147483647 w 2880"/>
              <a:gd name="T33" fmla="*/ 2147483647 h 545"/>
              <a:gd name="T34" fmla="*/ 2147483647 w 2880"/>
              <a:gd name="T35" fmla="*/ 2147483647 h 545"/>
              <a:gd name="T36" fmla="*/ 2147483647 w 2880"/>
              <a:gd name="T37" fmla="*/ 2147483647 h 545"/>
              <a:gd name="T38" fmla="*/ 2147483647 w 2880"/>
              <a:gd name="T39" fmla="*/ 2147483647 h 545"/>
              <a:gd name="T40" fmla="*/ 2147483647 w 2880"/>
              <a:gd name="T41" fmla="*/ 2147483647 h 545"/>
              <a:gd name="T42" fmla="*/ 2147483647 w 2880"/>
              <a:gd name="T43" fmla="*/ 2147483647 h 545"/>
              <a:gd name="T44" fmla="*/ 2147483647 w 2880"/>
              <a:gd name="T45" fmla="*/ 2147483647 h 545"/>
              <a:gd name="T46" fmla="*/ 2147483647 w 2880"/>
              <a:gd name="T47" fmla="*/ 2147483647 h 545"/>
              <a:gd name="T48" fmla="*/ 2147483647 w 2880"/>
              <a:gd name="T49" fmla="*/ 2147483647 h 545"/>
              <a:gd name="T50" fmla="*/ 2147483647 w 2880"/>
              <a:gd name="T51" fmla="*/ 2147483647 h 545"/>
              <a:gd name="T52" fmla="*/ 2147483647 w 2880"/>
              <a:gd name="T53" fmla="*/ 2147483647 h 545"/>
              <a:gd name="T54" fmla="*/ 2147483647 w 2880"/>
              <a:gd name="T55" fmla="*/ 2147483647 h 545"/>
              <a:gd name="T56" fmla="*/ 2147483647 w 2880"/>
              <a:gd name="T57" fmla="*/ 2147483647 h 545"/>
              <a:gd name="T58" fmla="*/ 2147483647 w 2880"/>
              <a:gd name="T59" fmla="*/ 2147483647 h 545"/>
              <a:gd name="T60" fmla="*/ 2147483647 w 2880"/>
              <a:gd name="T61" fmla="*/ 2147483647 h 545"/>
              <a:gd name="T62" fmla="*/ 2147483647 w 2880"/>
              <a:gd name="T63" fmla="*/ 2147483647 h 545"/>
              <a:gd name="T64" fmla="*/ 2147483647 w 2880"/>
              <a:gd name="T65" fmla="*/ 2147483647 h 545"/>
              <a:gd name="T66" fmla="*/ 2147483647 w 2880"/>
              <a:gd name="T67" fmla="*/ 2147483647 h 545"/>
              <a:gd name="T68" fmla="*/ 2147483647 w 2880"/>
              <a:gd name="T69" fmla="*/ 2147483647 h 545"/>
              <a:gd name="T70" fmla="*/ 2147483647 w 2880"/>
              <a:gd name="T71" fmla="*/ 2147483647 h 545"/>
              <a:gd name="T72" fmla="*/ 2147483647 w 2880"/>
              <a:gd name="T73" fmla="*/ 2147483647 h 545"/>
              <a:gd name="T74" fmla="*/ 2147483647 w 2880"/>
              <a:gd name="T75" fmla="*/ 2147483647 h 545"/>
              <a:gd name="T76" fmla="*/ 2147483647 w 2880"/>
              <a:gd name="T77" fmla="*/ 2147483647 h 545"/>
              <a:gd name="T78" fmla="*/ 2147483647 w 2880"/>
              <a:gd name="T79" fmla="*/ 2147483647 h 545"/>
              <a:gd name="T80" fmla="*/ 2147483647 w 2880"/>
              <a:gd name="T81" fmla="*/ 2147483647 h 545"/>
              <a:gd name="T82" fmla="*/ 2147483647 w 2880"/>
              <a:gd name="T83" fmla="*/ 2147483647 h 545"/>
              <a:gd name="T84" fmla="*/ 2147483647 w 2880"/>
              <a:gd name="T85" fmla="*/ 2147483647 h 545"/>
              <a:gd name="T86" fmla="*/ 2147483647 w 2880"/>
              <a:gd name="T87" fmla="*/ 2147483647 h 545"/>
              <a:gd name="T88" fmla="*/ 2147483647 w 2880"/>
              <a:gd name="T89" fmla="*/ 2147483647 h 545"/>
              <a:gd name="T90" fmla="*/ 2147483647 w 2880"/>
              <a:gd name="T91" fmla="*/ 2147483647 h 545"/>
              <a:gd name="T92" fmla="*/ 2147483647 w 2880"/>
              <a:gd name="T93" fmla="*/ 2147483647 h 545"/>
              <a:gd name="T94" fmla="*/ 2147483647 w 2880"/>
              <a:gd name="T95" fmla="*/ 2147483647 h 545"/>
              <a:gd name="T96" fmla="*/ 2147483647 w 2880"/>
              <a:gd name="T97" fmla="*/ 2147483647 h 545"/>
              <a:gd name="T98" fmla="*/ 2147483647 w 2880"/>
              <a:gd name="T99" fmla="*/ 2147483647 h 545"/>
              <a:gd name="T100" fmla="*/ 2147483647 w 2880"/>
              <a:gd name="T101" fmla="*/ 2147483647 h 545"/>
              <a:gd name="T102" fmla="*/ 2147483647 w 2880"/>
              <a:gd name="T103" fmla="*/ 2147483647 h 545"/>
              <a:gd name="T104" fmla="*/ 2147483647 w 2880"/>
              <a:gd name="T105" fmla="*/ 2147483647 h 545"/>
              <a:gd name="T106" fmla="*/ 2147483647 w 2880"/>
              <a:gd name="T107" fmla="*/ 2147483647 h 545"/>
              <a:gd name="T108" fmla="*/ 2147483647 w 2880"/>
              <a:gd name="T109" fmla="*/ 2147483647 h 545"/>
              <a:gd name="T110" fmla="*/ 2147483647 w 2880"/>
              <a:gd name="T111" fmla="*/ 2147483647 h 545"/>
              <a:gd name="T112" fmla="*/ 2147483647 w 2880"/>
              <a:gd name="T113" fmla="*/ 2147483647 h 545"/>
              <a:gd name="T114" fmla="*/ 2147483647 w 2880"/>
              <a:gd name="T115" fmla="*/ 2147483647 h 545"/>
              <a:gd name="T116" fmla="*/ 2147483647 w 2880"/>
              <a:gd name="T117" fmla="*/ 2147483647 h 5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971058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9B94AEB-589D-4E83-A765-9278E18CB002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84900701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5A4F36-11A4-4BF1-B551-4441257BEEF5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15351994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F4C6963-E1B5-4693-BD21-F8ACC6A336EA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37418218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8FC6F4-8DD2-48F9-AA6C-3A26D6F91498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54230667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7B2868-3011-4C46-9D62-F52296DFE1E5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40634160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AA9E37-CDB3-4DEE-9D1B-D82C9F2C2ECC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36742251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12B2A20-F513-4193-9BE6-107F69D0AC0B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422742215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295085-3888-42EE-A373-4CC20443BA29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4540089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375651" y="269875"/>
            <a:ext cx="2616200" cy="58562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269875"/>
            <a:ext cx="7645400" cy="58562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88C77D3-6A8F-4960-9E41-BC553E8773B9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1904951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>
            <a:extLst>
              <a:ext uri="{FF2B5EF4-FFF2-40B4-BE49-F238E27FC236}">
                <a16:creationId xmlns:a16="http://schemas.microsoft.com/office/drawing/2014/main" id="{4CAA1A37-9204-4A25-9054-31917E4255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solidFill>
            <a:srgbClr val="DDE3E7"/>
          </a:solidFill>
        </p:spPr>
        <p:txBody>
          <a:bodyPr lIns="9432000" rIns="50400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GB"/>
              <a:t>To add a picture, please right click the image placeholder and bring it to front. </a:t>
            </a:r>
            <a:br>
              <a:rPr lang="en-GB"/>
            </a:br>
            <a:br>
              <a:rPr lang="en-GB"/>
            </a:br>
            <a:r>
              <a:rPr lang="en-GB"/>
              <a:t>You can now insert a picture by clicking on the placeholder image icon. Then click the Reset button on the Home menu tab to send the picture to background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B9E957-3F55-4CEB-ABFA-916F4BB161A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263352" y="5120522"/>
            <a:ext cx="234000" cy="1260806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199456" y="333375"/>
            <a:ext cx="8208000" cy="3239002"/>
          </a:xfrm>
        </p:spPr>
        <p:txBody>
          <a:bodyPr tIns="0" bIns="0" anchor="b"/>
          <a:lstStyle>
            <a:lvl1pPr algn="l">
              <a:lnSpc>
                <a:spcPct val="90000"/>
              </a:lnSpc>
              <a:defRPr sz="6600" b="1" i="0" spc="-1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199456" y="3716313"/>
            <a:ext cx="8208000" cy="72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Click to edit subline</a:t>
            </a:r>
          </a:p>
          <a:p>
            <a:pPr lvl="1"/>
            <a:r>
              <a:rPr lang="en-GB"/>
              <a:t>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2FBF00-184A-445D-86C9-C33582C676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5600" y="360000"/>
            <a:ext cx="342000" cy="4608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6E9A991-EE31-4DB7-89CA-2351FF7823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9456" y="5697252"/>
            <a:ext cx="8208912" cy="6840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r>
              <a:rPr lang="en-GB"/>
              <a:t>C2 Internal</a:t>
            </a:r>
          </a:p>
        </p:txBody>
      </p:sp>
    </p:spTree>
    <p:extLst>
      <p:ext uri="{BB962C8B-B14F-4D97-AF65-F5344CB8AC3E}">
        <p14:creationId xmlns:p14="http://schemas.microsoft.com/office/powerpoint/2010/main" val="2923714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21167" y="5022851"/>
            <a:ext cx="11004551" cy="1549400"/>
          </a:xfrm>
          <a:custGeom>
            <a:avLst/>
            <a:gdLst>
              <a:gd name="T0" fmla="*/ 2147483647 w 2915"/>
              <a:gd name="T1" fmla="*/ 2147483647 h 545"/>
              <a:gd name="T2" fmla="*/ 2147483647 w 2915"/>
              <a:gd name="T3" fmla="*/ 2147483647 h 545"/>
              <a:gd name="T4" fmla="*/ 2147483647 w 2915"/>
              <a:gd name="T5" fmla="*/ 2147483647 h 545"/>
              <a:gd name="T6" fmla="*/ 2147483647 w 2915"/>
              <a:gd name="T7" fmla="*/ 2147483647 h 545"/>
              <a:gd name="T8" fmla="*/ 2147483647 w 2915"/>
              <a:gd name="T9" fmla="*/ 2147483647 h 545"/>
              <a:gd name="T10" fmla="*/ 2147483647 w 2915"/>
              <a:gd name="T11" fmla="*/ 2147483647 h 545"/>
              <a:gd name="T12" fmla="*/ 2147483647 w 2915"/>
              <a:gd name="T13" fmla="*/ 2147483647 h 545"/>
              <a:gd name="T14" fmla="*/ 2147483647 w 2915"/>
              <a:gd name="T15" fmla="*/ 2147483647 h 545"/>
              <a:gd name="T16" fmla="*/ 2147483647 w 2915"/>
              <a:gd name="T17" fmla="*/ 2147483647 h 545"/>
              <a:gd name="T18" fmla="*/ 2147483647 w 2915"/>
              <a:gd name="T19" fmla="*/ 2147483647 h 545"/>
              <a:gd name="T20" fmla="*/ 2147483647 w 2915"/>
              <a:gd name="T21" fmla="*/ 2147483647 h 545"/>
              <a:gd name="T22" fmla="*/ 2147483647 w 2915"/>
              <a:gd name="T23" fmla="*/ 2147483647 h 545"/>
              <a:gd name="T24" fmla="*/ 2147483647 w 2915"/>
              <a:gd name="T25" fmla="*/ 2147483647 h 545"/>
              <a:gd name="T26" fmla="*/ 2147483647 w 2915"/>
              <a:gd name="T27" fmla="*/ 2147483647 h 545"/>
              <a:gd name="T28" fmla="*/ 2147483647 w 2915"/>
              <a:gd name="T29" fmla="*/ 2147483647 h 545"/>
              <a:gd name="T30" fmla="*/ 2147483647 w 2915"/>
              <a:gd name="T31" fmla="*/ 2147483647 h 545"/>
              <a:gd name="T32" fmla="*/ 2147483647 w 2915"/>
              <a:gd name="T33" fmla="*/ 2147483647 h 545"/>
              <a:gd name="T34" fmla="*/ 2147483647 w 2915"/>
              <a:gd name="T35" fmla="*/ 2147483647 h 545"/>
              <a:gd name="T36" fmla="*/ 2147483647 w 2915"/>
              <a:gd name="T37" fmla="*/ 2147483647 h 545"/>
              <a:gd name="T38" fmla="*/ 2147483647 w 2915"/>
              <a:gd name="T39" fmla="*/ 2147483647 h 545"/>
              <a:gd name="T40" fmla="*/ 2147483647 w 2915"/>
              <a:gd name="T41" fmla="*/ 2147483647 h 545"/>
              <a:gd name="T42" fmla="*/ 2147483647 w 2915"/>
              <a:gd name="T43" fmla="*/ 2147483647 h 545"/>
              <a:gd name="T44" fmla="*/ 2147483647 w 2915"/>
              <a:gd name="T45" fmla="*/ 2147483647 h 545"/>
              <a:gd name="T46" fmla="*/ 2147483647 w 2915"/>
              <a:gd name="T47" fmla="*/ 2147483647 h 545"/>
              <a:gd name="T48" fmla="*/ 2147483647 w 2915"/>
              <a:gd name="T49" fmla="*/ 2147483647 h 545"/>
              <a:gd name="T50" fmla="*/ 2147483647 w 2915"/>
              <a:gd name="T51" fmla="*/ 2147483647 h 545"/>
              <a:gd name="T52" fmla="*/ 2147483647 w 2915"/>
              <a:gd name="T53" fmla="*/ 2147483647 h 545"/>
              <a:gd name="T54" fmla="*/ 2147483647 w 2915"/>
              <a:gd name="T55" fmla="*/ 2147483647 h 545"/>
              <a:gd name="T56" fmla="*/ 2147483647 w 2915"/>
              <a:gd name="T57" fmla="*/ 2147483647 h 545"/>
              <a:gd name="T58" fmla="*/ 2147483647 w 2915"/>
              <a:gd name="T59" fmla="*/ 2147483647 h 545"/>
              <a:gd name="T60" fmla="*/ 2147483647 w 2915"/>
              <a:gd name="T61" fmla="*/ 2147483647 h 545"/>
              <a:gd name="T62" fmla="*/ 2147483647 w 2915"/>
              <a:gd name="T63" fmla="*/ 2147483647 h 545"/>
              <a:gd name="T64" fmla="*/ 2147483647 w 2915"/>
              <a:gd name="T65" fmla="*/ 2147483647 h 545"/>
              <a:gd name="T66" fmla="*/ 2147483647 w 2915"/>
              <a:gd name="T67" fmla="*/ 2147483647 h 545"/>
              <a:gd name="T68" fmla="*/ 2147483647 w 2915"/>
              <a:gd name="T69" fmla="*/ 2147483647 h 545"/>
              <a:gd name="T70" fmla="*/ 2147483647 w 2915"/>
              <a:gd name="T71" fmla="*/ 2147483647 h 545"/>
              <a:gd name="T72" fmla="*/ 2147483647 w 2915"/>
              <a:gd name="T73" fmla="*/ 2147483647 h 545"/>
              <a:gd name="T74" fmla="*/ 2147483647 w 2915"/>
              <a:gd name="T75" fmla="*/ 2147483647 h 545"/>
              <a:gd name="T76" fmla="*/ 2147483647 w 2915"/>
              <a:gd name="T77" fmla="*/ 2147483647 h 545"/>
              <a:gd name="T78" fmla="*/ 2147483647 w 2915"/>
              <a:gd name="T79" fmla="*/ 2147483647 h 545"/>
              <a:gd name="T80" fmla="*/ 2147483647 w 2915"/>
              <a:gd name="T81" fmla="*/ 2147483647 h 545"/>
              <a:gd name="T82" fmla="*/ 2147483647 w 2915"/>
              <a:gd name="T83" fmla="*/ 2147483647 h 545"/>
              <a:gd name="T84" fmla="*/ 2147483647 w 2915"/>
              <a:gd name="T85" fmla="*/ 2147483647 h 545"/>
              <a:gd name="T86" fmla="*/ 2147483647 w 2915"/>
              <a:gd name="T87" fmla="*/ 2147483647 h 545"/>
              <a:gd name="T88" fmla="*/ 2147483647 w 2915"/>
              <a:gd name="T89" fmla="*/ 2147483647 h 545"/>
              <a:gd name="T90" fmla="*/ 2147483647 w 2915"/>
              <a:gd name="T91" fmla="*/ 2147483647 h 545"/>
              <a:gd name="T92" fmla="*/ 2147483647 w 2915"/>
              <a:gd name="T93" fmla="*/ 2147483647 h 545"/>
              <a:gd name="T94" fmla="*/ 2147483647 w 2915"/>
              <a:gd name="T95" fmla="*/ 2147483647 h 545"/>
              <a:gd name="T96" fmla="*/ 2147483647 w 2915"/>
              <a:gd name="T97" fmla="*/ 2147483647 h 545"/>
              <a:gd name="T98" fmla="*/ 2147483647 w 2915"/>
              <a:gd name="T99" fmla="*/ 2147483647 h 545"/>
              <a:gd name="T100" fmla="*/ 2147483647 w 2915"/>
              <a:gd name="T101" fmla="*/ 2147483647 h 545"/>
              <a:gd name="T102" fmla="*/ 2147483647 w 2915"/>
              <a:gd name="T103" fmla="*/ 2147483647 h 545"/>
              <a:gd name="T104" fmla="*/ 2147483647 w 2915"/>
              <a:gd name="T105" fmla="*/ 2147483647 h 545"/>
              <a:gd name="T106" fmla="*/ 0 w 2915"/>
              <a:gd name="T107" fmla="*/ 2147483647 h 545"/>
              <a:gd name="T108" fmla="*/ 2147483647 w 2915"/>
              <a:gd name="T109" fmla="*/ 2147483647 h 545"/>
              <a:gd name="T110" fmla="*/ 2147483647 w 2915"/>
              <a:gd name="T111" fmla="*/ 2147483647 h 545"/>
              <a:gd name="T112" fmla="*/ 2147483647 w 2915"/>
              <a:gd name="T113" fmla="*/ 2147483647 h 545"/>
              <a:gd name="T114" fmla="*/ 2147483647 w 2915"/>
              <a:gd name="T115" fmla="*/ 2147483647 h 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796650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105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97417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solidFill>
            <a:srgbClr val="DDE3E7"/>
          </a:solidFill>
        </p:spPr>
        <p:txBody>
          <a:bodyPr lIns="9432000" rIns="50400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GB"/>
              <a:t>To add a picture, please right click the image placeholder and bring it to front. </a:t>
            </a:r>
            <a:br>
              <a:rPr lang="en-GB"/>
            </a:br>
            <a:br>
              <a:rPr lang="en-GB"/>
            </a:br>
            <a:r>
              <a:rPr lang="en-GB"/>
              <a:t>You can now insert a picture by clicking on the placeholder image icon. Then click the Reset button on the Home menu tab to send the picture to background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B9E957-3F55-4CEB-ABFA-916F4BB161A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263352" y="5120522"/>
            <a:ext cx="234000" cy="1260806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1199456" y="333375"/>
            <a:ext cx="8208000" cy="3239002"/>
          </a:xfrm>
        </p:spPr>
        <p:txBody>
          <a:bodyPr tIns="0" bIns="0" anchor="b"/>
          <a:lstStyle>
            <a:lvl1pPr algn="l">
              <a:lnSpc>
                <a:spcPct val="90000"/>
              </a:lnSpc>
              <a:defRPr sz="6600" b="1" i="0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9456" y="3716313"/>
            <a:ext cx="8208000" cy="72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Click to edit subline</a:t>
            </a:r>
          </a:p>
          <a:p>
            <a:pPr lvl="1"/>
            <a:r>
              <a:rPr lang="en-GB"/>
              <a:t>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2FBF00-184A-445D-86C9-C33582C676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5600" y="360000"/>
            <a:ext cx="342000" cy="4608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1DE48AB-B208-4189-8089-DC7BC55579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9456" y="5697252"/>
            <a:ext cx="8208912" cy="6840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9pPr>
          </a:lstStyle>
          <a:p>
            <a:r>
              <a:rPr lang="en-GB"/>
              <a:t>C2 Internal</a:t>
            </a:r>
          </a:p>
        </p:txBody>
      </p:sp>
    </p:spTree>
    <p:extLst>
      <p:ext uri="{BB962C8B-B14F-4D97-AF65-F5344CB8AC3E}">
        <p14:creationId xmlns:p14="http://schemas.microsoft.com/office/powerpoint/2010/main" val="7148257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C4B535-EC52-4CF4-B9BE-3BC9700663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3279" y="1484313"/>
            <a:ext cx="8109296" cy="48974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87113FC-C0DE-475B-B48F-F341EA6D3B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68689" y="5122052"/>
            <a:ext cx="234000" cy="12592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1199456" y="333375"/>
            <a:ext cx="8208000" cy="3238922"/>
          </a:xfrm>
        </p:spPr>
        <p:txBody>
          <a:bodyPr tIns="0" bIns="0" anchor="b"/>
          <a:lstStyle>
            <a:lvl1pPr algn="l">
              <a:lnSpc>
                <a:spcPct val="90000"/>
              </a:lnSpc>
              <a:defRPr sz="6600" b="1" i="0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9456" y="3716313"/>
            <a:ext cx="8208912" cy="72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Click to edit subline</a:t>
            </a:r>
          </a:p>
          <a:p>
            <a:pPr lvl="1"/>
            <a:r>
              <a:rPr lang="en-GB"/>
              <a:t>Level 2</a:t>
            </a:r>
          </a:p>
          <a:p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88788FE-2FC8-4F5B-B883-59F33B86B1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9456" y="5697252"/>
            <a:ext cx="8208912" cy="6840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9pPr>
          </a:lstStyle>
          <a:p>
            <a:r>
              <a:rPr lang="en-GB"/>
              <a:t>C2 Internal</a:t>
            </a:r>
          </a:p>
        </p:txBody>
      </p:sp>
    </p:spTree>
    <p:extLst>
      <p:ext uri="{BB962C8B-B14F-4D97-AF65-F5344CB8AC3E}">
        <p14:creationId xmlns:p14="http://schemas.microsoft.com/office/powerpoint/2010/main" val="1547000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C932D0D-2845-4C0F-8A35-71A52A42FF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2000" y="936000"/>
            <a:ext cx="9900000" cy="5568750"/>
          </a:xfrm>
          <a:prstGeom prst="rect">
            <a:avLst/>
          </a:prstGeom>
          <a:ln>
            <a:noFill/>
          </a:ln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1484313"/>
            <a:ext cx="8208000" cy="2160711"/>
          </a:xfrm>
        </p:spPr>
        <p:txBody>
          <a:bodyPr lIns="0" tIns="0" bIns="50400" anchor="b"/>
          <a:lstStyle>
            <a:lvl1pPr>
              <a:lnSpc>
                <a:spcPct val="90000"/>
              </a:lnSpc>
              <a:defRPr sz="4400" b="1" spc="-5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Divide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black">
          <a:xfrm>
            <a:off x="1200026" y="3717032"/>
            <a:ext cx="8208000" cy="1872556"/>
          </a:xfrm>
        </p:spPr>
        <p:txBody>
          <a:bodyPr lIns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Optional short description of the current chapter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 rot="16200000">
            <a:off x="-1645334" y="3392999"/>
            <a:ext cx="4105278" cy="28790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3844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|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199456" y="1484313"/>
            <a:ext cx="8208000" cy="2160711"/>
          </a:xfrm>
        </p:spPr>
        <p:txBody>
          <a:bodyPr tIns="0" bIns="50400" anchor="b"/>
          <a:lstStyle>
            <a:lvl1pPr>
              <a:lnSpc>
                <a:spcPct val="90000"/>
              </a:lnSpc>
              <a:defRPr sz="4400" b="1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Divide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200026" y="3717032"/>
            <a:ext cx="8208000" cy="18722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Optional short description of the current chapter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05E948-0429-4BA5-BE6A-0FB567FE17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080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ing |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51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56772B1F-B86A-452C-8BEE-2355B59EA550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black">
          <a:xfrm>
            <a:off x="6600056" y="1484784"/>
            <a:ext cx="51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3392923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6">
          <p15:clr>
            <a:srgbClr val="547EBF"/>
          </p15:clr>
        </p15:guide>
        <p15:guide id="2" pos="4158">
          <p15:clr>
            <a:srgbClr val="547EB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ing |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3940"/>
            <a:ext cx="51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5112000" cy="720000"/>
          </a:xfrm>
        </p:spPr>
        <p:txBody>
          <a:bodyPr tIns="28800"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09E298D1-1B8A-48BA-B429-C8DD2EAF64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600825" y="0"/>
            <a:ext cx="5591175" cy="6858000"/>
          </a:xfrm>
          <a:solidFill>
            <a:srgbClr val="DDE3E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en-GB"/>
              <a:t>Click icon </a:t>
            </a:r>
            <a:br>
              <a:rPr lang="en-GB"/>
            </a:br>
            <a:r>
              <a:rPr lang="en-GB"/>
              <a:t>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15227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6">
          <p15:clr>
            <a:srgbClr val="547EBF"/>
          </p15:clr>
        </p15:guide>
        <p15:guide id="3" pos="4158">
          <p15:clr>
            <a:srgbClr val="547EB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5" y="3716610"/>
            <a:ext cx="10512000" cy="266514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4"/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2348880"/>
            <a:ext cx="10512000" cy="1224136"/>
          </a:xfrm>
        </p:spPr>
        <p:txBody>
          <a:bodyPr bIns="28800" anchor="b"/>
          <a:lstStyle>
            <a:lvl1pPr>
              <a:lnSpc>
                <a:spcPct val="90000"/>
              </a:lnSpc>
              <a:defRPr sz="3200" spc="-50" baseline="0"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30846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547EBF"/>
          </p15:clr>
        </p15:guide>
        <p15:guide id="2" orient="horz" pos="2341">
          <p15:clr>
            <a:srgbClr val="547EB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|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3716610"/>
            <a:ext cx="5112000" cy="266514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0"/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8" y="2348880"/>
            <a:ext cx="5112000" cy="1223714"/>
          </a:xfrm>
        </p:spPr>
        <p:txBody>
          <a:bodyPr bIns="28800" anchor="b"/>
          <a:lstStyle>
            <a:lvl1pPr>
              <a:lnSpc>
                <a:spcPct val="90000"/>
              </a:lnSpc>
              <a:defRPr sz="3200" spc="-50" baseline="0"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461ED10A-0495-4A89-BA52-79C00234B56E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6600825" y="0"/>
            <a:ext cx="5591175" cy="6858000"/>
          </a:xfrm>
          <a:noFill/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0558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547EBF"/>
          </p15:clr>
        </p15:guide>
        <p15:guide id="2" pos="3976">
          <p15:clr>
            <a:srgbClr val="547EBF"/>
          </p15:clr>
        </p15:guide>
        <p15:guide id="3" pos="4158">
          <p15:clr>
            <a:srgbClr val="547EBF"/>
          </p15:clr>
        </p15:guide>
        <p15:guide id="4" orient="horz" pos="2337">
          <p15:clr>
            <a:srgbClr val="547EB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|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2E310726-F0F9-435D-B724-F278EC7290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199456" y="0"/>
            <a:ext cx="4536504" cy="6858000"/>
          </a:xfrm>
          <a:solidFill>
            <a:srgbClr val="DDE3E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en-GB"/>
              <a:t>Click icon </a:t>
            </a:r>
            <a:br>
              <a:rPr lang="en-GB"/>
            </a:br>
            <a:r>
              <a:rPr lang="en-GB"/>
              <a:t>to add pictur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6600056" y="3716610"/>
            <a:ext cx="5112000" cy="266514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6600057" y="2348880"/>
            <a:ext cx="5112000" cy="1223714"/>
          </a:xfrm>
        </p:spPr>
        <p:txBody>
          <a:bodyPr bIns="28800" anchor="b"/>
          <a:lstStyle>
            <a:lvl1pPr>
              <a:lnSpc>
                <a:spcPct val="90000"/>
              </a:lnSpc>
              <a:defRPr sz="3200" spc="-50" baseline="0"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019595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547EBF"/>
          </p15:clr>
        </p15:guide>
        <p15:guide id="2" pos="4158">
          <p15:clr>
            <a:srgbClr val="547EBF"/>
          </p15:clr>
        </p15:guide>
        <p15:guide id="3" pos="3613">
          <p15:clr>
            <a:srgbClr val="547EBF"/>
          </p15:clr>
        </p15:guide>
        <p15:guide id="4" orient="horz" pos="234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6" Type="http://schemas.openxmlformats.org/officeDocument/2006/relationships/theme" Target="../theme/theme5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1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81"/>
            <a:ext cx="10464800" cy="10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2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extmasterformate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85" y="1698106"/>
            <a:ext cx="628651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F4A296A-FCD9-4E8B-87D7-D427D99016DA}" type="datetime1">
              <a:rPr lang="de-CH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.07.2023</a:t>
            </a:fld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604" y="1196978"/>
            <a:ext cx="385233" cy="196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rgbClr val="001155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9D7A184-6BD2-45A8-951B-C16D34E4ECA7}" type="slidenum">
              <a:rPr lang="en-GB" altLang="de-DE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de-DE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1221318" y="1390651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11567604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11567604" y="5481639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9" y="3632475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Swisscom Cloud 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2755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3" r:id="rId12"/>
    <p:sldLayoutId id="2147483674" r:id="rId13"/>
  </p:sldLayoutIdLst>
  <p:transition spd="med">
    <p:fade/>
  </p:transition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ＭＳ Ｐゴシック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  <p:sp>
        <p:nvSpPr>
          <p:cNvPr id="8" name="Line 8"/>
          <p:cNvSpPr>
            <a:spLocks noChangeShapeType="1"/>
          </p:cNvSpPr>
          <p:nvPr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1437125" y="1891522"/>
            <a:ext cx="648124" cy="3829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10105003" y="3957615"/>
            <a:ext cx="3312371" cy="382948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1155"/>
                </a:solidFill>
              </a:rPr>
              <a:t>Classification, First name &amp; surname, Organization, Filename_Version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69700" y="1124744"/>
            <a:ext cx="382949" cy="28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F1E6F8D2-302A-414E-8EB0-9FF1A628B391}" type="slidenum">
              <a:rPr lang="en-GB" smtClean="0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15" name="Line 8"/>
          <p:cNvSpPr>
            <a:spLocks noChangeShapeType="1"/>
          </p:cNvSpPr>
          <p:nvPr/>
        </p:nvSpPr>
        <p:spPr bwMode="gray">
          <a:xfrm flipV="1">
            <a:off x="11569718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16" name="Titelplatzhalter 15"/>
          <p:cNvSpPr>
            <a:spLocks noGrp="1"/>
          </p:cNvSpPr>
          <p:nvPr>
            <p:ph type="title"/>
          </p:nvPr>
        </p:nvSpPr>
        <p:spPr bwMode="gray">
          <a:xfrm>
            <a:off x="527051" y="260352"/>
            <a:ext cx="10464800" cy="1152369"/>
          </a:xfrm>
          <a:prstGeom prst="rect">
            <a:avLst/>
          </a:prstGeom>
        </p:spPr>
        <p:txBody>
          <a:bodyPr vert="horz" lIns="0" tIns="0" rIns="0" bIns="10800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17" name="Textplatzhalter 16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1200153" y="1773237"/>
            <a:ext cx="9791700" cy="4248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VCT_Marker_ID_2" hidden="1"/>
          <p:cNvSpPr/>
          <p:nvPr>
            <p:custDataLst>
              <p:tags r:id="rId19"/>
            </p:custDataLst>
          </p:nvPr>
        </p:nvSpPr>
        <p:spPr bwMode="gray">
          <a:xfrm>
            <a:off x="1693334" y="127000"/>
            <a:ext cx="16933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err="1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12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</p:sldLayoutIdLst>
  <p:hf hdr="0"/>
  <p:txStyles>
    <p:titleStyle>
      <a:lvl1pPr marL="490538" indent="-490538" algn="l" defTabSz="914400" rtl="0" eaLnBrk="1" latinLnBrk="0" hangingPunct="1">
        <a:spcBef>
          <a:spcPct val="0"/>
        </a:spcBef>
        <a:buNone/>
        <a:defRPr lang="en-GB" sz="2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spcBef>
          <a:spcPct val="20000"/>
        </a:spcBef>
        <a:buClr>
          <a:schemeClr val="accent2"/>
        </a:buClr>
        <a:buFont typeface="TheSans Swisscom" pitchFamily="34" charset="0"/>
        <a:buChar char="&gt;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55713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12900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en-GB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970088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213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693988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051175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extmasterformate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defRPr sz="700">
                <a:solidFill>
                  <a:srgbClr val="001155"/>
                </a:solidFill>
                <a:latin typeface="TheSans Swissco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C02E13C-6DE1-4F5D-9131-28932DF591E1}" type="datetime1">
              <a:rPr lang="de-CH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4.07.2023</a:t>
            </a:fld>
            <a:endParaRPr lang="en-GB">
              <a:cs typeface="ＭＳ Ｐゴシック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rgbClr val="001155"/>
                </a:solidFill>
                <a:latin typeface="TheSans Swissco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9689800-A86A-408E-BB16-5354228EDBBF}" type="slidenum">
              <a:rPr lang="en-GB" smtClean="0"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>
              <a:cs typeface="ＭＳ Ｐゴシック" charset="0"/>
            </a:endParaRP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1155"/>
                </a:solidFill>
                <a:latin typeface="TheSans Swissco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cs typeface="ＭＳ Ｐゴシック" charset="0"/>
              </a:rPr>
              <a:t>Swisscom Cloud </a:t>
            </a:r>
            <a:endParaRPr lang="en-GB">
              <a:cs typeface="ＭＳ Ｐゴシック" charset="0"/>
            </a:endParaRP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7977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  <a:endParaRPr lang="en-GB" altLang="de-DE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  <a:endParaRPr lang="en-GB" altLang="de-DE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ClrTx/>
              <a:defRPr sz="700" smtClean="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</a:pPr>
            <a:fld id="{12396580-EA28-4202-85A5-787E8FA8C0FB}" type="slidenum">
              <a:rPr lang="en-GB" altLang="de-DE">
                <a:solidFill>
                  <a:srgbClr val="001155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2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defRPr sz="700" smtClean="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5705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hf hdr="0"/>
  <p:txStyles>
    <p:titleStyle>
      <a:lvl1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2pPr>
      <a:lvl3pPr marL="903288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3pPr>
      <a:lvl4pPr marL="1262063" indent="-1778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4pPr>
      <a:lvl5pPr marL="16224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5pPr>
      <a:lvl6pPr marL="20796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  <p:sp>
        <p:nvSpPr>
          <p:cNvPr id="8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1437115" y="1891512"/>
            <a:ext cx="648124" cy="3829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10104994" y="3957605"/>
            <a:ext cx="3312370" cy="382948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69700" y="1124744"/>
            <a:ext cx="382949" cy="28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F1E6F8D2-302A-414E-8EB0-9FF1A628B391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15" name="Line 8"/>
          <p:cNvSpPr>
            <a:spLocks noChangeShapeType="1"/>
          </p:cNvSpPr>
          <p:nvPr userDrawn="1"/>
        </p:nvSpPr>
        <p:spPr bwMode="gray">
          <a:xfrm flipV="1">
            <a:off x="11569699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16" name="Titelplatzhalter 15"/>
          <p:cNvSpPr>
            <a:spLocks noGrp="1"/>
          </p:cNvSpPr>
          <p:nvPr>
            <p:ph type="title"/>
          </p:nvPr>
        </p:nvSpPr>
        <p:spPr bwMode="gray">
          <a:xfrm>
            <a:off x="527051" y="260352"/>
            <a:ext cx="10464800" cy="1152369"/>
          </a:xfrm>
          <a:prstGeom prst="rect">
            <a:avLst/>
          </a:prstGeom>
        </p:spPr>
        <p:txBody>
          <a:bodyPr vert="horz" lIns="0" tIns="0" rIns="0" bIns="10800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1200150" y="1773238"/>
            <a:ext cx="9791700" cy="4248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VCT_Marker_ID_2" hidden="1"/>
          <p:cNvSpPr/>
          <p:nvPr userDrawn="1">
            <p:custDataLst>
              <p:tags r:id="rId18"/>
            </p:custDataLst>
          </p:nvPr>
        </p:nvSpPr>
        <p:spPr bwMode="gray">
          <a:xfrm>
            <a:off x="1693334" y="127000"/>
            <a:ext cx="16933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err="1">
              <a:solidFill>
                <a:srgbClr val="001155"/>
              </a:solidFill>
            </a:endParaRPr>
          </a:p>
        </p:txBody>
      </p:sp>
      <p:sp>
        <p:nvSpPr>
          <p:cNvPr id="12" name="VctRoadmap_ID_12" hidden="1"/>
          <p:cNvSpPr txBox="1"/>
          <p:nvPr userDrawn="1">
            <p:custDataLst>
              <p:tags r:id="rId19"/>
            </p:custDataLst>
          </p:nvPr>
        </p:nvSpPr>
        <p:spPr bwMode="gray">
          <a:xfrm>
            <a:off x="5759449" y="88900"/>
            <a:ext cx="5232400" cy="184666"/>
          </a:xfrm>
          <a:prstGeom prst="rect">
            <a:avLst/>
          </a:prstGeom>
          <a:noFill/>
          <a:ln cmpd="sng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r"/>
            <a:r>
              <a:rPr lang="de-DE" sz="1200" b="1" i="1">
                <a:solidFill>
                  <a:srgbClr val="000000"/>
                </a:solidFill>
                <a:latin typeface="Arial"/>
              </a:rPr>
              <a:t>_Auto</a:t>
            </a:r>
          </a:p>
        </p:txBody>
      </p:sp>
    </p:spTree>
    <p:extLst>
      <p:ext uri="{BB962C8B-B14F-4D97-AF65-F5344CB8AC3E}">
        <p14:creationId xmlns:p14="http://schemas.microsoft.com/office/powerpoint/2010/main" val="1620002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</p:sldLayoutIdLst>
  <p:transition/>
  <p:hf hdr="0"/>
  <p:txStyles>
    <p:titleStyle>
      <a:lvl1pPr marL="490538" indent="-490538" algn="l" defTabSz="914400" rtl="0" eaLnBrk="1" latinLnBrk="0" hangingPunct="1">
        <a:spcBef>
          <a:spcPct val="0"/>
        </a:spcBef>
        <a:buNone/>
        <a:defRPr lang="en-GB" sz="2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spcBef>
          <a:spcPct val="20000"/>
        </a:spcBef>
        <a:buClr>
          <a:schemeClr val="accent2"/>
        </a:buClr>
        <a:buFont typeface="TheSans Swisscom" pitchFamily="34" charset="0"/>
        <a:buChar char="&gt;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55713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12900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en-GB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970088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213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693988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051175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defRPr sz="700"/>
            </a:lvl1pPr>
          </a:lstStyle>
          <a:p>
            <a:pPr algn="ctr" fontAlgn="base">
              <a:spcAft>
                <a:spcPct val="0"/>
              </a:spcAft>
              <a:defRPr/>
            </a:pPr>
            <a:fld id="{C409AF09-4223-4D74-B22D-630B9EFC8995}" type="datetime1">
              <a:rPr lang="de-DE" smtClean="0">
                <a:solidFill>
                  <a:srgbClr val="001155"/>
                </a:solidFill>
              </a:rPr>
              <a:pPr algn="ctr" fontAlgn="base">
                <a:spcAft>
                  <a:spcPct val="0"/>
                </a:spcAft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fld id="{66CCBED9-E6FE-4EA0-9069-28C2A5EF93F0}" type="slidenum">
              <a:rPr lang="en-GB">
                <a:solidFill>
                  <a:srgbClr val="001155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1032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77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err="1"/>
              <a:t>Textmasterformate</a:t>
            </a:r>
            <a:r>
              <a:rPr lang="en-GB" altLang="de-DE"/>
              <a:t> </a:t>
            </a:r>
            <a:r>
              <a:rPr lang="en-GB" altLang="de-DE" err="1"/>
              <a:t>durch</a:t>
            </a:r>
            <a:r>
              <a:rPr lang="en-GB" altLang="de-DE"/>
              <a:t> </a:t>
            </a:r>
            <a:r>
              <a:rPr lang="en-GB" altLang="de-DE" err="1"/>
              <a:t>Klicken</a:t>
            </a:r>
            <a:r>
              <a:rPr lang="en-GB" altLang="de-DE"/>
              <a:t> </a:t>
            </a:r>
            <a:r>
              <a:rPr lang="en-GB" altLang="de-DE" err="1"/>
              <a:t>bearbeiten</a:t>
            </a:r>
            <a:endParaRPr lang="en-GB" altLang="de-DE"/>
          </a:p>
          <a:p>
            <a:pPr lvl="1"/>
            <a:r>
              <a:rPr lang="en-GB" altLang="de-DE" err="1"/>
              <a:t>Zwei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  <a:p>
            <a:pPr lvl="2"/>
            <a:r>
              <a:rPr lang="en-GB" altLang="de-DE" err="1"/>
              <a:t>Drit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  <a:p>
            <a:pPr lvl="3"/>
            <a:r>
              <a:rPr lang="en-GB" altLang="de-DE" err="1"/>
              <a:t>Vier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  <a:p>
            <a:pPr lvl="4"/>
            <a:r>
              <a:rPr lang="en-GB" altLang="de-DE" err="1"/>
              <a:t>Fünf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-CH" altLang="de-DE">
                <a:solidFill>
                  <a:srgbClr val="001155"/>
                </a:solidFill>
              </a:rPr>
              <a:t>14.04.2016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AE1DE9B-B420-4A5D-8689-0D28680670E3}" type="slidenum">
              <a:rPr lang="en-GB" altLang="de-DE">
                <a:solidFill>
                  <a:srgbClr val="00115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2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 altLang="de-DE">
                <a:solidFill>
                  <a:srgbClr val="001155"/>
                </a:solidFill>
              </a:rPr>
              <a:t>Thor-DCS_HAL_V01-.pptx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1468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black">
          <a:xfrm>
            <a:off x="1200150" y="332656"/>
            <a:ext cx="10512000" cy="720000"/>
          </a:xfrm>
          <a:prstGeom prst="rect">
            <a:avLst/>
          </a:prstGeom>
        </p:spPr>
        <p:txBody>
          <a:bodyPr vert="horz" lIns="0" tIns="28800" rIns="0" bIns="0" rtlCol="0" anchor="t">
            <a:noAutofit/>
          </a:bodyPr>
          <a:lstStyle/>
          <a:p>
            <a:r>
              <a:rPr lang="en-GB"/>
              <a:t>Click to edit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1200150" y="1484015"/>
            <a:ext cx="10512000" cy="4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black">
          <a:xfrm rot="16200000">
            <a:off x="-1645271" y="3392999"/>
            <a:ext cx="4105278" cy="28790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 flipH="1">
            <a:off x="191344" y="6093336"/>
            <a:ext cx="432048" cy="360000"/>
          </a:xfrm>
          <a:prstGeom prst="rect">
            <a:avLst/>
          </a:prstGeom>
        </p:spPr>
        <p:txBody>
          <a:bodyPr vert="horz" lIns="0" tIns="0" rIns="0" bIns="14400" rtlCol="0" anchor="b">
            <a:noAutofit/>
          </a:bodyPr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5EAD1F8-D385-4F7B-B8F3-539267025C3B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  <p:grpSp>
        <p:nvGrpSpPr>
          <p:cNvPr id="22" name="Gruppieren 24">
            <a:extLst>
              <a:ext uri="{FF2B5EF4-FFF2-40B4-BE49-F238E27FC236}">
                <a16:creationId xmlns:a16="http://schemas.microsoft.com/office/drawing/2014/main" id="{312B57C8-CC79-40AA-8AA4-6CB66F54872B}"/>
              </a:ext>
            </a:extLst>
          </p:cNvPr>
          <p:cNvGrpSpPr/>
          <p:nvPr userDrawn="1"/>
        </p:nvGrpSpPr>
        <p:grpSpPr bwMode="gray">
          <a:xfrm>
            <a:off x="-168688" y="404664"/>
            <a:ext cx="72000" cy="5976664"/>
            <a:chOff x="-456728" y="404664"/>
            <a:chExt cx="216000" cy="5976664"/>
          </a:xfrm>
        </p:grpSpPr>
        <p:cxnSp>
          <p:nvCxnSpPr>
            <p:cNvPr id="26" name="Gerader Verbinder 22">
              <a:extLst>
                <a:ext uri="{FF2B5EF4-FFF2-40B4-BE49-F238E27FC236}">
                  <a16:creationId xmlns:a16="http://schemas.microsoft.com/office/drawing/2014/main" id="{CA530E4D-6A1D-440A-A92A-58B79E86CAA4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456728" y="404664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3">
              <a:extLst>
                <a:ext uri="{FF2B5EF4-FFF2-40B4-BE49-F238E27FC236}">
                  <a16:creationId xmlns:a16="http://schemas.microsoft.com/office/drawing/2014/main" id="{41000BC1-4CED-4E84-B948-0C3FBB61C61C}"/>
                </a:ext>
              </a:extLst>
            </p:cNvPr>
            <p:cNvCxnSpPr/>
            <p:nvPr userDrawn="1"/>
          </p:nvCxnSpPr>
          <p:spPr bwMode="gray">
            <a:xfrm>
              <a:off x="-456728" y="638132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2">
              <a:extLst>
                <a:ext uri="{FF2B5EF4-FFF2-40B4-BE49-F238E27FC236}">
                  <a16:creationId xmlns:a16="http://schemas.microsoft.com/office/drawing/2014/main" id="{A5C6A947-9107-449C-B734-B1EBC6B45977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456728" y="1484784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0">
            <a:extLst>
              <a:ext uri="{FF2B5EF4-FFF2-40B4-BE49-F238E27FC236}">
                <a16:creationId xmlns:a16="http://schemas.microsoft.com/office/drawing/2014/main" id="{C68B8BB5-A052-4302-8C36-A7347B54D093}"/>
              </a:ext>
            </a:extLst>
          </p:cNvPr>
          <p:cNvGrpSpPr/>
          <p:nvPr userDrawn="1"/>
        </p:nvGrpSpPr>
        <p:grpSpPr bwMode="black">
          <a:xfrm>
            <a:off x="1199456" y="-171400"/>
            <a:ext cx="10513168" cy="72000"/>
            <a:chOff x="1199456" y="-243408"/>
            <a:chExt cx="10513168" cy="216000"/>
          </a:xfrm>
        </p:grpSpPr>
        <p:cxnSp>
          <p:nvCxnSpPr>
            <p:cNvPr id="31" name="Gerader Verbinder 12">
              <a:extLst>
                <a:ext uri="{FF2B5EF4-FFF2-40B4-BE49-F238E27FC236}">
                  <a16:creationId xmlns:a16="http://schemas.microsoft.com/office/drawing/2014/main" id="{0BBDD4DC-2F5E-4921-A28A-16256894A83A}"/>
                </a:ext>
              </a:extLst>
            </p:cNvPr>
            <p:cNvCxnSpPr/>
            <p:nvPr userDrawn="1"/>
          </p:nvCxnSpPr>
          <p:spPr bwMode="black">
            <a:xfrm>
              <a:off x="11994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13">
              <a:extLst>
                <a:ext uri="{FF2B5EF4-FFF2-40B4-BE49-F238E27FC236}">
                  <a16:creationId xmlns:a16="http://schemas.microsoft.com/office/drawing/2014/main" id="{387E5392-44DA-4D9C-9F10-E50075FC9154}"/>
                </a:ext>
              </a:extLst>
            </p:cNvPr>
            <p:cNvCxnSpPr/>
            <p:nvPr userDrawn="1"/>
          </p:nvCxnSpPr>
          <p:spPr bwMode="black">
            <a:xfrm>
              <a:off x="4511824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14">
              <a:extLst>
                <a:ext uri="{FF2B5EF4-FFF2-40B4-BE49-F238E27FC236}">
                  <a16:creationId xmlns:a16="http://schemas.microsoft.com/office/drawing/2014/main" id="{038593D0-2B60-40E3-93F2-262F8CC888AA}"/>
                </a:ext>
              </a:extLst>
            </p:cNvPr>
            <p:cNvCxnSpPr/>
            <p:nvPr userDrawn="1"/>
          </p:nvCxnSpPr>
          <p:spPr bwMode="black">
            <a:xfrm>
              <a:off x="4799856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15">
              <a:extLst>
                <a:ext uri="{FF2B5EF4-FFF2-40B4-BE49-F238E27FC236}">
                  <a16:creationId xmlns:a16="http://schemas.microsoft.com/office/drawing/2014/main" id="{8953402E-258F-4450-AB76-4174CBC5B640}"/>
                </a:ext>
              </a:extLst>
            </p:cNvPr>
            <p:cNvCxnSpPr/>
            <p:nvPr userDrawn="1"/>
          </p:nvCxnSpPr>
          <p:spPr bwMode="black">
            <a:xfrm>
              <a:off x="63120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16">
              <a:extLst>
                <a:ext uri="{FF2B5EF4-FFF2-40B4-BE49-F238E27FC236}">
                  <a16:creationId xmlns:a16="http://schemas.microsoft.com/office/drawing/2014/main" id="{E0A7F052-1C09-4A7C-9370-039CD8902FFA}"/>
                </a:ext>
              </a:extLst>
            </p:cNvPr>
            <p:cNvCxnSpPr/>
            <p:nvPr userDrawn="1"/>
          </p:nvCxnSpPr>
          <p:spPr bwMode="black">
            <a:xfrm>
              <a:off x="66000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17">
              <a:extLst>
                <a:ext uri="{FF2B5EF4-FFF2-40B4-BE49-F238E27FC236}">
                  <a16:creationId xmlns:a16="http://schemas.microsoft.com/office/drawing/2014/main" id="{CAC11A3C-8D30-4CD1-A9F1-01713888DC5B}"/>
                </a:ext>
              </a:extLst>
            </p:cNvPr>
            <p:cNvCxnSpPr/>
            <p:nvPr userDrawn="1"/>
          </p:nvCxnSpPr>
          <p:spPr bwMode="black">
            <a:xfrm>
              <a:off x="8112224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18">
              <a:extLst>
                <a:ext uri="{FF2B5EF4-FFF2-40B4-BE49-F238E27FC236}">
                  <a16:creationId xmlns:a16="http://schemas.microsoft.com/office/drawing/2014/main" id="{1561F3C7-9D7D-4E3B-BD9E-A0E0CCC1BB4D}"/>
                </a:ext>
              </a:extLst>
            </p:cNvPr>
            <p:cNvCxnSpPr/>
            <p:nvPr userDrawn="1"/>
          </p:nvCxnSpPr>
          <p:spPr bwMode="black">
            <a:xfrm>
              <a:off x="8400256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19">
              <a:extLst>
                <a:ext uri="{FF2B5EF4-FFF2-40B4-BE49-F238E27FC236}">
                  <a16:creationId xmlns:a16="http://schemas.microsoft.com/office/drawing/2014/main" id="{3DB0CF6B-3782-471C-855D-AC7156B1FC4C}"/>
                </a:ext>
              </a:extLst>
            </p:cNvPr>
            <p:cNvCxnSpPr/>
            <p:nvPr userDrawn="1"/>
          </p:nvCxnSpPr>
          <p:spPr bwMode="black">
            <a:xfrm>
              <a:off x="117126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13">
              <a:extLst>
                <a:ext uri="{FF2B5EF4-FFF2-40B4-BE49-F238E27FC236}">
                  <a16:creationId xmlns:a16="http://schemas.microsoft.com/office/drawing/2014/main" id="{2E9AEC7D-A7E2-4653-9EA9-1D23D8079F01}"/>
                </a:ext>
              </a:extLst>
            </p:cNvPr>
            <p:cNvCxnSpPr/>
            <p:nvPr userDrawn="1"/>
          </p:nvCxnSpPr>
          <p:spPr bwMode="black">
            <a:xfrm>
              <a:off x="36117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14">
              <a:extLst>
                <a:ext uri="{FF2B5EF4-FFF2-40B4-BE49-F238E27FC236}">
                  <a16:creationId xmlns:a16="http://schemas.microsoft.com/office/drawing/2014/main" id="{8E8724AC-A11A-4D85-9E2A-D4FF98B41AEB}"/>
                </a:ext>
              </a:extLst>
            </p:cNvPr>
            <p:cNvCxnSpPr/>
            <p:nvPr userDrawn="1"/>
          </p:nvCxnSpPr>
          <p:spPr bwMode="black">
            <a:xfrm>
              <a:off x="38997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17">
              <a:extLst>
                <a:ext uri="{FF2B5EF4-FFF2-40B4-BE49-F238E27FC236}">
                  <a16:creationId xmlns:a16="http://schemas.microsoft.com/office/drawing/2014/main" id="{EA29EE29-0A4A-4211-91D5-77203B3EF25D}"/>
                </a:ext>
              </a:extLst>
            </p:cNvPr>
            <p:cNvCxnSpPr/>
            <p:nvPr userDrawn="1"/>
          </p:nvCxnSpPr>
          <p:spPr bwMode="black">
            <a:xfrm>
              <a:off x="90123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18">
              <a:extLst>
                <a:ext uri="{FF2B5EF4-FFF2-40B4-BE49-F238E27FC236}">
                  <a16:creationId xmlns:a16="http://schemas.microsoft.com/office/drawing/2014/main" id="{64CF9FB5-CE38-42DD-A4E5-AD6CCCFD7CE3}"/>
                </a:ext>
              </a:extLst>
            </p:cNvPr>
            <p:cNvCxnSpPr/>
            <p:nvPr userDrawn="1"/>
          </p:nvCxnSpPr>
          <p:spPr bwMode="black">
            <a:xfrm>
              <a:off x="93003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99955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7" r:id="rId2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6">
          <p15:clr>
            <a:srgbClr val="547EBF"/>
          </p15:clr>
        </p15:guide>
        <p15:guide id="5" pos="7378">
          <p15:clr>
            <a:srgbClr val="547EBF"/>
          </p15:clr>
        </p15:guide>
        <p15:guide id="11" orient="horz" pos="4020">
          <p15:clr>
            <a:srgbClr val="547EBF"/>
          </p15:clr>
        </p15:guide>
        <p15:guide id="14" orient="horz" pos="935">
          <p15:clr>
            <a:srgbClr val="547EBF"/>
          </p15:clr>
        </p15:guide>
        <p15:guide id="15" orient="horz" pos="255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9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3.xml"/><Relationship Id="rId1" Type="http://schemas.openxmlformats.org/officeDocument/2006/relationships/tags" Target="../tags/tag14.xml"/><Relationship Id="rId4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8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 descr="A picture containing snow, dark, night&#10;&#10;Description automatically generated">
            <a:extLst>
              <a:ext uri="{FF2B5EF4-FFF2-40B4-BE49-F238E27FC236}">
                <a16:creationId xmlns:a16="http://schemas.microsoft.com/office/drawing/2014/main" id="{DA647578-0E97-4ED1-B135-13AFE103103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44" b="14844"/>
          <a:stretch>
            <a:fillRect/>
          </a:stretch>
        </p:blipFill>
        <p:spPr>
          <a:xfrm>
            <a:off x="1" y="0"/>
            <a:ext cx="12191999" cy="6858000"/>
          </a:xfr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E9D3DD-B586-405D-BF7B-22E8E79EE8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99456" y="909270"/>
            <a:ext cx="8208000" cy="3239002"/>
          </a:xfrm>
        </p:spPr>
        <p:txBody>
          <a:bodyPr/>
          <a:lstStyle/>
          <a:p>
            <a:r>
              <a:rPr lang="en-US" sz="3600" dirty="0"/>
              <a:t>Swisscom Network Analytics</a:t>
            </a:r>
            <a:br>
              <a:rPr lang="en-US" sz="4800" dirty="0"/>
            </a:br>
            <a:r>
              <a:rPr lang="en-US" sz="4200" b="0" dirty="0"/>
              <a:t>Why Network Modelling with Digital Map is the next step</a:t>
            </a:r>
            <a:endParaRPr lang="de-CH" sz="4200" b="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22ED2BF-7B71-4061-81BF-3C0686B7D4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292208"/>
            <a:ext cx="8208000" cy="720000"/>
          </a:xfrm>
        </p:spPr>
        <p:txBody>
          <a:bodyPr/>
          <a:lstStyle/>
          <a:p>
            <a:r>
              <a:rPr lang="de-CH" dirty="0"/>
              <a:t>23.07.2023, Thomas Graf – thomas.graf@swisscom.com</a:t>
            </a:r>
            <a:br>
              <a:rPr lang="de-CH" dirty="0"/>
            </a:br>
            <a:r>
              <a:rPr lang="de-CH" i="1" dirty="0"/>
              <a:t>Picture: Apollo 8, </a:t>
            </a:r>
            <a:r>
              <a:rPr lang="de-CH" i="1" dirty="0" err="1"/>
              <a:t>December</a:t>
            </a:r>
            <a:r>
              <a:rPr lang="de-CH" i="1" dirty="0"/>
              <a:t> 24th 1968</a:t>
            </a:r>
          </a:p>
          <a:p>
            <a:endParaRPr lang="de-CH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3B32741-1D07-41AE-8EB3-8E631C86E5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3413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C72DBFF-B1EF-DED6-29FB-DA2B320D6720}"/>
              </a:ext>
            </a:extLst>
          </p:cNvPr>
          <p:cNvSpPr/>
          <p:nvPr/>
        </p:nvSpPr>
        <p:spPr bwMode="gray">
          <a:xfrm>
            <a:off x="8572500" y="-14735"/>
            <a:ext cx="3619500" cy="6858000"/>
          </a:xfrm>
          <a:prstGeom prst="rect">
            <a:avLst/>
          </a:prstGeom>
          <a:solidFill>
            <a:srgbClr val="DDE3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CC9C78-2B19-41B7-9039-4C3C6946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onitor L3 VPN Relationships in Near Real-Time</a:t>
            </a:r>
            <a:br>
              <a:rPr lang="en-GB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What Interfaces are for Flows, </a:t>
            </a:r>
            <a:r>
              <a:rPr lang="en-US" b="0" dirty="0" err="1">
                <a:solidFill>
                  <a:schemeClr val="bg1">
                    <a:lumMod val="65000"/>
                  </a:schemeClr>
                </a:solidFill>
              </a:rPr>
              <a:t>Peerings</a:t>
            </a: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 are for BGP</a:t>
            </a: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D81DEC37-A600-4F6C-AE22-C81D97BEC2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07359" y="332656"/>
            <a:ext cx="3244369" cy="4536504"/>
          </a:xfrm>
        </p:spPr>
        <p:txBody>
          <a:bodyPr/>
          <a:lstStyle/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Interface State - </a:t>
            </a:r>
            <a:r>
              <a:rPr lang="en-US" dirty="0"/>
              <a:t>Determine which Interfaces belong to the L3 VPN and track their state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BGP Peering State - </a:t>
            </a:r>
            <a:r>
              <a:rPr lang="en-US" dirty="0"/>
              <a:t>Determine which BGP </a:t>
            </a:r>
            <a:r>
              <a:rPr lang="en-US" dirty="0" err="1"/>
              <a:t>peerings</a:t>
            </a:r>
            <a:r>
              <a:rPr lang="en-US" dirty="0"/>
              <a:t> belong to the L3 VPN and track their state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BGP Updates/Withdrawals - </a:t>
            </a:r>
            <a:r>
              <a:rPr lang="en-US" dirty="0"/>
              <a:t>Determine which BGP paths belong to the L3 VPN and track their state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Traffic Drop -  </a:t>
            </a:r>
            <a:r>
              <a:rPr lang="en-US" dirty="0"/>
              <a:t>Determine which traffic flows belong to the L3 VPN and track wherever the dropped byte count spikes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Flow Count Change - </a:t>
            </a:r>
            <a:r>
              <a:rPr lang="en-US" dirty="0"/>
              <a:t>Determine which traffic flows belong to the L3 VPN and track wherever the flow count drops or spikes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Missing Traffic - </a:t>
            </a:r>
            <a:r>
              <a:rPr lang="en-US" dirty="0"/>
              <a:t>Determine which traffic flows belong to the L3 VPN and compare the forwarded byte count to previous week. </a:t>
            </a:r>
          </a:p>
          <a:p>
            <a:pPr marL="342900" indent="-3429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endParaRPr lang="en-US" sz="1800" b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A88332-9014-6945-0CD0-FC8D32AC72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662" y="1575940"/>
            <a:ext cx="8127566" cy="526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814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1CC9C78-2B19-41B7-9039-4C3C6946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From Network to Alert Event</a:t>
            </a:r>
            <a:br>
              <a:rPr lang="en-GB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Observe multiple perspectives at different times</a:t>
            </a: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D81DEC37-A600-4F6C-AE22-C81D97BEC2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456" y="1637646"/>
            <a:ext cx="6156841" cy="4536504"/>
          </a:xfrm>
        </p:spPr>
        <p:txBody>
          <a:bodyPr/>
          <a:lstStyle/>
          <a:p>
            <a:pPr marL="342900" indent="-3429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A single link down </a:t>
            </a:r>
            <a:r>
              <a:rPr lang="en-US" sz="1800" dirty="0"/>
              <a:t>result in multiple device topology, control-plane and forwarding-plane events being exposed at different times.</a:t>
            </a:r>
          </a:p>
          <a:p>
            <a:pPr marL="342900" indent="-3429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Determine </a:t>
            </a:r>
            <a:r>
              <a:rPr lang="en-US" sz="1800" dirty="0"/>
              <a:t>which interfaces and BGP </a:t>
            </a:r>
            <a:r>
              <a:rPr lang="en-US" sz="1800" dirty="0" err="1"/>
              <a:t>peerings</a:t>
            </a:r>
            <a:r>
              <a:rPr lang="en-US" sz="1800" dirty="0"/>
              <a:t> are being used first and then observe state. </a:t>
            </a:r>
            <a:r>
              <a:rPr lang="en-US" sz="1800" b="1" dirty="0"/>
              <a:t>Observe </a:t>
            </a:r>
            <a:r>
              <a:rPr lang="en-US" sz="1800" dirty="0"/>
              <a:t>BGP withdrawals and updates, traffic drop spikes and missing traffic. Generate multiple concerns.</a:t>
            </a:r>
          </a:p>
          <a:p>
            <a:pPr marL="342900" indent="-3429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Calculate </a:t>
            </a:r>
            <a:r>
              <a:rPr lang="en-US" sz="1800" dirty="0"/>
              <a:t>for each check a concern score between 0 and 1. </a:t>
            </a:r>
            <a:r>
              <a:rPr lang="en-US" sz="1800" b="1" dirty="0"/>
              <a:t>The higher, the more probable </a:t>
            </a:r>
            <a:r>
              <a:rPr lang="en-US" sz="1800" dirty="0"/>
              <a:t>the changes impacted forwarding.</a:t>
            </a:r>
          </a:p>
          <a:p>
            <a:pPr marL="342900" indent="-3429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Unify </a:t>
            </a:r>
            <a:r>
              <a:rPr lang="en-US" sz="1800" dirty="0"/>
              <a:t>several concerns for one VPN connectivity service to one alert identifier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0B9623-81DE-4C90-ABB0-B84BCC0CD7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7277" y="208249"/>
            <a:ext cx="3904179" cy="6441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1167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36">
            <a:extLst>
              <a:ext uri="{FF2B5EF4-FFF2-40B4-BE49-F238E27FC236}">
                <a16:creationId xmlns:a16="http://schemas.microsoft.com/office/drawing/2014/main" id="{24794628-93B2-4287-8DE8-8D7DA287A7AC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8B456E0E-5DDE-4089-9DCE-9AAA5FDE8DF1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sz="2200" b="1" dirty="0">
                <a:solidFill>
                  <a:schemeClr val="tx1"/>
                </a:solidFill>
              </a:rPr>
              <a:t>5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Three </a:t>
            </a:r>
            <a:r>
              <a:rPr lang="en-US" sz="2000" dirty="0">
                <a:solidFill>
                  <a:schemeClr val="tx1"/>
                </a:solidFill>
              </a:rPr>
              <a:t>out of Six checks</a:t>
            </a:r>
          </a:p>
        </p:txBody>
      </p:sp>
      <p:cxnSp>
        <p:nvCxnSpPr>
          <p:cNvPr id="42" name="Gerade Verbindung 36">
            <a:extLst>
              <a:ext uri="{FF2B5EF4-FFF2-40B4-BE49-F238E27FC236}">
                <a16:creationId xmlns:a16="http://schemas.microsoft.com/office/drawing/2014/main" id="{75ED4159-BB32-47C2-A4F6-8479D199AB55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1">
            <a:extLst>
              <a:ext uri="{FF2B5EF4-FFF2-40B4-BE49-F238E27FC236}">
                <a16:creationId xmlns:a16="http://schemas.microsoft.com/office/drawing/2014/main" id="{762036C5-E77B-4751-812A-6832DCE80D84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123730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1">
            <a:extLst>
              <a:ext uri="{FF2B5EF4-FFF2-40B4-BE49-F238E27FC236}">
                <a16:creationId xmlns:a16="http://schemas.microsoft.com/office/drawing/2014/main" id="{4046372C-E408-4192-B828-970B019234EA}"/>
              </a:ext>
            </a:extLst>
          </p:cNvPr>
          <p:cNvCxnSpPr>
            <a:cxnSpLocks/>
          </p:cNvCxnSpPr>
          <p:nvPr/>
        </p:nvCxnSpPr>
        <p:spPr bwMode="gray">
          <a:xfrm>
            <a:off x="384041" y="2067743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79213351-B4A1-499A-80D3-E7334E433E3F}"/>
              </a:ext>
            </a:extLst>
          </p:cNvPr>
          <p:cNvSpPr/>
          <p:nvPr/>
        </p:nvSpPr>
        <p:spPr bwMode="gray">
          <a:xfrm>
            <a:off x="384041" y="206774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sz="2200" b="1" dirty="0">
                <a:solidFill>
                  <a:schemeClr val="tx1"/>
                </a:solidFill>
              </a:rPr>
              <a:t>1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One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dirty="0">
                <a:solidFill>
                  <a:schemeClr val="tx1"/>
                </a:solidFill>
              </a:rPr>
              <a:t>out of Six checks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EE7777F-2068-4967-99F5-C7AAE9E0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8CA8D263-7904-4811-AC9D-A10A3C4D3AF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64D0EFE4-0E47-4FA6-B495-302B113396E3}"/>
              </a:ext>
            </a:extLst>
          </p:cNvPr>
          <p:cNvSpPr/>
          <p:nvPr/>
        </p:nvSpPr>
        <p:spPr bwMode="gray">
          <a:xfrm>
            <a:off x="5750364" y="2123730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sz="2200" b="1" dirty="0">
                <a:solidFill>
                  <a:schemeClr val="tx1"/>
                </a:solidFill>
              </a:rPr>
              <a:t>1</a:t>
            </a:r>
          </a:p>
          <a:p>
            <a:pPr algn="r"/>
            <a:r>
              <a:rPr lang="en-US" sz="2000" b="1" dirty="0">
                <a:solidFill>
                  <a:srgbClr val="FF0000"/>
                </a:solidFill>
              </a:rPr>
              <a:t>Four</a:t>
            </a:r>
            <a:r>
              <a:rPr lang="en-US" sz="2000" dirty="0">
                <a:solidFill>
                  <a:schemeClr val="tx1"/>
                </a:solidFill>
              </a:rPr>
              <a:t> out of Six check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7258568-8D29-440F-91D9-B6AC77A42C48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sz="2200" b="1" dirty="0">
                <a:solidFill>
                  <a:schemeClr val="tx1"/>
                </a:solidFill>
              </a:rPr>
              <a:t>3</a:t>
            </a:r>
          </a:p>
          <a:p>
            <a:pPr algn="r"/>
            <a:r>
              <a:rPr lang="en-US" sz="2000" b="1" dirty="0">
                <a:solidFill>
                  <a:srgbClr val="FF0000"/>
                </a:solidFill>
              </a:rPr>
              <a:t>Two</a:t>
            </a:r>
            <a:r>
              <a:rPr lang="en-US" sz="2000" dirty="0">
                <a:solidFill>
                  <a:schemeClr val="tx1"/>
                </a:solidFill>
              </a:rPr>
              <a:t> out of Six checks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A3F780A5-BEEB-42EF-A88D-19FF59B9485A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10 Network Incidents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AE0C8B0E-A4DE-0F83-CE09-A20D71FC3655}"/>
              </a:ext>
            </a:extLst>
          </p:cNvPr>
          <p:cNvSpPr txBox="1">
            <a:spLocks/>
          </p:cNvSpPr>
          <p:nvPr/>
        </p:nvSpPr>
        <p:spPr>
          <a:xfrm>
            <a:off x="1027998" y="332656"/>
            <a:ext cx="9279784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etwork Anomaly Detection PoC Detail</a:t>
            </a:r>
            <a:br>
              <a:rPr lang="en-US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Multiple Perspectives increases Accuracy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8DDCBF53-33AD-C881-4EFA-79299A44DDE8}"/>
              </a:ext>
            </a:extLst>
          </p:cNvPr>
          <p:cNvSpPr txBox="1">
            <a:spLocks/>
          </p:cNvSpPr>
          <p:nvPr/>
        </p:nvSpPr>
        <p:spPr bwMode="gray">
          <a:xfrm>
            <a:off x="8426760" y="-2916"/>
            <a:ext cx="3792536" cy="6858000"/>
          </a:xfrm>
          <a:prstGeom prst="rect">
            <a:avLst/>
          </a:prstGeom>
          <a:solidFill>
            <a:srgbClr val="DDE3E7"/>
          </a:solidFill>
        </p:spPr>
        <p:txBody>
          <a:bodyPr lIns="144000" tIns="0" rIns="0" bIns="0"/>
          <a:lstStyle>
            <a:defPPr>
              <a:defRPr lang="de-DE"/>
            </a:defPPr>
            <a:lvl1pPr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/>
            </a:lvl1pPr>
            <a:lvl2pPr marL="18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/>
            </a:lvl2pPr>
            <a:lvl3pPr marL="36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3pPr>
            <a:lvl4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4pPr>
            <a:lvl5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5pPr>
            <a:lvl6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6pPr>
            <a:lvl7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7pPr>
            <a:lvl8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8pPr>
            <a:lvl9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9pPr>
          </a:lstStyle>
          <a:p>
            <a:endParaRPr lang="en-US"/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6DC81F34-7EA9-C84D-D7BC-2F5514AC4CE4}"/>
              </a:ext>
            </a:extLst>
          </p:cNvPr>
          <p:cNvSpPr txBox="1">
            <a:spLocks/>
          </p:cNvSpPr>
          <p:nvPr/>
        </p:nvSpPr>
        <p:spPr bwMode="black">
          <a:xfrm>
            <a:off x="8729758" y="1211721"/>
            <a:ext cx="3342005" cy="552498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2000" b="1" dirty="0">
                <a:solidFill>
                  <a:schemeClr val="bg2"/>
                </a:solidFill>
              </a:rPr>
              <a:t>Key Facts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b="1" dirty="0">
                <a:solidFill>
                  <a:srgbClr val="FF0000"/>
                </a:solidFill>
              </a:rPr>
              <a:t>Networks are deterministic, Customers somewhat holds true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Max Concern score ranged between 0.25 and 0.85. In average 0.46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Incident patterns are repetitive. Month by month scoring improvements visible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Individual expert rule accuracy is beyond 90%. Summed accuracy is beyond 95%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Record and Replay Digital Twin works like a charm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In 4 cases additional YANG, in 2 cases additional BMP, in 2 cases Netconf Transaction-ID and 1 case additional </a:t>
            </a:r>
            <a:br>
              <a:rPr lang="en-US" sz="1400" dirty="0"/>
            </a:br>
            <a:r>
              <a:rPr lang="en-US" sz="1400" dirty="0"/>
              <a:t>L2 IPFIX metrics would have helped to gain more visibility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b="1" dirty="0">
                <a:solidFill>
                  <a:srgbClr val="FF0000"/>
                </a:solidFill>
              </a:rPr>
              <a:t>Presented at ANRW 2023 at IETF 117 on Monday July 24</a:t>
            </a:r>
            <a:r>
              <a:rPr lang="en-US" sz="1400" b="1" baseline="30000" dirty="0">
                <a:solidFill>
                  <a:srgbClr val="FF0000"/>
                </a:solidFill>
              </a:rPr>
              <a:t>th</a:t>
            </a:r>
            <a:r>
              <a:rPr lang="en-US" sz="1400" b="1" dirty="0">
                <a:solidFill>
                  <a:srgbClr val="FF0000"/>
                </a:solidFill>
              </a:rPr>
              <a:t> 15:30 – 17:00.</a:t>
            </a:r>
          </a:p>
        </p:txBody>
      </p:sp>
    </p:spTree>
    <p:extLst>
      <p:ext uri="{BB962C8B-B14F-4D97-AF65-F5344CB8AC3E}">
        <p14:creationId xmlns:p14="http://schemas.microsoft.com/office/powerpoint/2010/main" val="20589836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3" y="332656"/>
            <a:ext cx="9856473" cy="720000"/>
          </a:xfrm>
        </p:spPr>
        <p:txBody>
          <a:bodyPr/>
          <a:lstStyle/>
          <a:p>
            <a:r>
              <a:rPr lang="en-US" sz="2300" dirty="0"/>
              <a:t>January 29</a:t>
            </a:r>
            <a:r>
              <a:rPr lang="en-US" sz="2300" baseline="30000" dirty="0"/>
              <a:t>th</a:t>
            </a:r>
            <a:r>
              <a:rPr lang="en-US" sz="2300" dirty="0"/>
              <a:t> 2023, B2B Customer LAN-I Secure CER Traffic Blackholing</a:t>
            </a:r>
            <a:br>
              <a:rPr lang="en-US" sz="2300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Logical Connection 785 - L3 VPN monitored By Network Anomaly Det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D9AF321-8180-4636-92A5-FBA84028E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4" y="1241795"/>
            <a:ext cx="8492528" cy="509888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38BDD15-C3DB-4F97-BCA0-48BBCE5AE303}"/>
              </a:ext>
            </a:extLst>
          </p:cNvPr>
          <p:cNvCxnSpPr/>
          <p:nvPr/>
        </p:nvCxnSpPr>
        <p:spPr bwMode="gray">
          <a:xfrm>
            <a:off x="4629150" y="1924050"/>
            <a:ext cx="0" cy="4416628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1A5EDE6-00BC-4A2D-A20F-D44C86E6C228}"/>
              </a:ext>
            </a:extLst>
          </p:cNvPr>
          <p:cNvCxnSpPr/>
          <p:nvPr/>
        </p:nvCxnSpPr>
        <p:spPr bwMode="gray">
          <a:xfrm>
            <a:off x="5153025" y="1924050"/>
            <a:ext cx="0" cy="4416628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A2C1A01-2F25-480D-9B52-23E469EEF73B}"/>
              </a:ext>
            </a:extLst>
          </p:cNvPr>
          <p:cNvCxnSpPr/>
          <p:nvPr/>
        </p:nvCxnSpPr>
        <p:spPr bwMode="gray">
          <a:xfrm>
            <a:off x="6686550" y="1924050"/>
            <a:ext cx="0" cy="4416628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712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1577740" y="1170179"/>
            <a:ext cx="5616000" cy="33316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magine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that with such a Network Anomaly Detection alert,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 reference to the Digital Map is included, dependencies are being shown in real-time and you can play the changes backwards in time.</a:t>
            </a:r>
            <a:endParaRPr kumimoji="0" lang="en-US" sz="3200" b="1" i="0" u="none" strike="noStrike" kern="1200" cap="none" spc="-5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7380857" y="3689849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742623" y="1040441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pic>
        <p:nvPicPr>
          <p:cNvPr id="3" name="Grafik 4">
            <a:extLst>
              <a:ext uri="{FF2B5EF4-FFF2-40B4-BE49-F238E27FC236}">
                <a16:creationId xmlns:a16="http://schemas.microsoft.com/office/drawing/2014/main" id="{FFB8AA38-4F95-A2ED-9A95-FC9AA40F6A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8037" y="0"/>
            <a:ext cx="33115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948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EE7777F-2068-4967-99F5-C7AAE9E0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888076A8-E832-4482-81D7-F118AA3F585C}"/>
              </a:ext>
            </a:extLst>
          </p:cNvPr>
          <p:cNvSpPr txBox="1">
            <a:spLocks/>
          </p:cNvSpPr>
          <p:nvPr/>
        </p:nvSpPr>
        <p:spPr>
          <a:xfrm>
            <a:off x="1027998" y="332656"/>
            <a:ext cx="9603980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ationwide Network Outages everywhere</a:t>
            </a:r>
            <a:br>
              <a:rPr lang="en-US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Increasing in impact and duration - hinting Network Visibility deficiencies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8F4BEDA-9609-474A-8EBF-BE83590D75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998" y="1487136"/>
            <a:ext cx="2922661" cy="24976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38AC47-E081-4AD1-9DA1-4A085B6D27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4832" y="1416720"/>
            <a:ext cx="2856750" cy="28145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2B0E26-807A-425C-BA36-10628AAA4D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5240" y="1487135"/>
            <a:ext cx="2905010" cy="26737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0435BA-D7F9-43A2-8427-E109B1E465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8610" y="3942768"/>
            <a:ext cx="2712370" cy="28145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807C86-4C8A-4F3A-ACA6-D8441450D5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1020" y="3791319"/>
            <a:ext cx="2571990" cy="29868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356AA7C-D99A-4F4E-B017-270754C830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30210" y="4014431"/>
            <a:ext cx="4196973" cy="254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317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5448000" y="1386180"/>
            <a:ext cx="5616000" cy="28179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e customer knows before Swisscom that there is service interruption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Unable to recognize impact and root cause when configurational or operational network changes occur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wisscom suffers reputation damage. </a:t>
            </a:r>
            <a:b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e need to work together to mediate.</a:t>
            </a: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11346223" y="3776342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4800000" y="1301120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4229C52-005A-4F3A-826D-8B06B8B911BD}"/>
              </a:ext>
            </a:extLst>
          </p:cNvPr>
          <p:cNvSpPr txBox="1">
            <a:spLocks/>
          </p:cNvSpPr>
          <p:nvPr/>
        </p:nvSpPr>
        <p:spPr bwMode="black">
          <a:xfrm>
            <a:off x="4800000" y="5157000"/>
            <a:ext cx="6264000" cy="12247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arkus Reber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Head of Networks at Swisscom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13" name="Picture Placeholder 5">
            <a:extLst>
              <a:ext uri="{FF2B5EF4-FFF2-40B4-BE49-F238E27FC236}">
                <a16:creationId xmlns:a16="http://schemas.microsoft.com/office/drawing/2014/main" id="{AD0B5DF3-6C20-4CC0-8B13-00771DDE54E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00" r="35350"/>
          <a:stretch/>
        </p:blipFill>
        <p:spPr>
          <a:xfrm>
            <a:off x="1201777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707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17A6DA17-156A-4F5E-B81C-D64FF1E7B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8D11295F-2BFA-40E0-8C05-BFE2BB9FEF4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60155" y="1409737"/>
            <a:ext cx="10887639" cy="2755325"/>
          </a:xfrm>
        </p:spPr>
        <p:txBody>
          <a:bodyPr/>
          <a:lstStyle/>
          <a:p>
            <a:pPr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600" dirty="0"/>
              <a:t>“ </a:t>
            </a:r>
            <a:r>
              <a:rPr lang="en-US" sz="3600" i="1" dirty="0"/>
              <a:t>It is our duty to recognize service interruption </a:t>
            </a:r>
            <a:br>
              <a:rPr lang="en-US" sz="3600" i="1" dirty="0"/>
            </a:br>
            <a:r>
              <a:rPr lang="en-US" sz="3600" i="1" dirty="0"/>
              <a:t>before our customer does.</a:t>
            </a:r>
            <a:br>
              <a:rPr lang="en-US" sz="3600" i="1" dirty="0"/>
            </a:br>
            <a:r>
              <a:rPr lang="en-US" sz="3600" i="1" dirty="0"/>
              <a:t>Why do we still often fail to be first ? </a:t>
            </a:r>
            <a:r>
              <a:rPr lang="en-US" sz="3600" dirty="0"/>
              <a:t>“</a:t>
            </a:r>
            <a:endParaRPr lang="de-CH" sz="36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209106-683C-4E8E-9C26-ED12DED9E902}"/>
              </a:ext>
            </a:extLst>
          </p:cNvPr>
          <p:cNvGrpSpPr/>
          <p:nvPr/>
        </p:nvGrpSpPr>
        <p:grpSpPr>
          <a:xfrm>
            <a:off x="4750838" y="5180742"/>
            <a:ext cx="2690324" cy="724949"/>
            <a:chOff x="8955783" y="324085"/>
            <a:chExt cx="2690324" cy="724949"/>
          </a:xfrm>
        </p:grpSpPr>
        <p:grpSp>
          <p:nvGrpSpPr>
            <p:cNvPr id="11" name="Gruppieren 168">
              <a:extLst>
                <a:ext uri="{FF2B5EF4-FFF2-40B4-BE49-F238E27FC236}">
                  <a16:creationId xmlns:a16="http://schemas.microsoft.com/office/drawing/2014/main" id="{14DC1D05-0086-4C2B-8E18-ABD9BF1D37D8}"/>
                </a:ext>
              </a:extLst>
            </p:cNvPr>
            <p:cNvGrpSpPr/>
            <p:nvPr/>
          </p:nvGrpSpPr>
          <p:grpSpPr>
            <a:xfrm>
              <a:off x="8955783" y="324085"/>
              <a:ext cx="702670" cy="712587"/>
              <a:chOff x="10366017" y="30973"/>
              <a:chExt cx="2246316" cy="2278019"/>
            </a:xfrm>
          </p:grpSpPr>
          <p:grpSp>
            <p:nvGrpSpPr>
              <p:cNvPr id="86" name="Grafik 5">
                <a:extLst>
                  <a:ext uri="{FF2B5EF4-FFF2-40B4-BE49-F238E27FC236}">
                    <a16:creationId xmlns:a16="http://schemas.microsoft.com/office/drawing/2014/main" id="{B82DDF56-43C4-4D1B-8671-9D28D6A7C88F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88" name="Grafik 5">
                  <a:extLst>
                    <a:ext uri="{FF2B5EF4-FFF2-40B4-BE49-F238E27FC236}">
                      <a16:creationId xmlns:a16="http://schemas.microsoft.com/office/drawing/2014/main" id="{5BE20CCA-C28C-41E2-86CE-5B23E5F93D3D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90" name="Freihandform: Form 173">
                    <a:extLst>
                      <a:ext uri="{FF2B5EF4-FFF2-40B4-BE49-F238E27FC236}">
                        <a16:creationId xmlns:a16="http://schemas.microsoft.com/office/drawing/2014/main" id="{7C9C6FB6-AEB5-4CA9-8EE9-FE7C2E144E6F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" name="Freihandform: Form 174">
                    <a:extLst>
                      <a:ext uri="{FF2B5EF4-FFF2-40B4-BE49-F238E27FC236}">
                        <a16:creationId xmlns:a16="http://schemas.microsoft.com/office/drawing/2014/main" id="{A5A1DFB5-3D1A-4C63-9F47-2944EDE19907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" name="Freihandform: Form 175">
                    <a:extLst>
                      <a:ext uri="{FF2B5EF4-FFF2-40B4-BE49-F238E27FC236}">
                        <a16:creationId xmlns:a16="http://schemas.microsoft.com/office/drawing/2014/main" id="{557FAEFA-0C63-4F99-BA0D-98E75A5058DB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" name="Freihandform: Form 176">
                    <a:extLst>
                      <a:ext uri="{FF2B5EF4-FFF2-40B4-BE49-F238E27FC236}">
                        <a16:creationId xmlns:a16="http://schemas.microsoft.com/office/drawing/2014/main" id="{21934B1C-A5ED-41DD-B537-A8D527E77AA0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" name="Freihandform: Form 177">
                    <a:extLst>
                      <a:ext uri="{FF2B5EF4-FFF2-40B4-BE49-F238E27FC236}">
                        <a16:creationId xmlns:a16="http://schemas.microsoft.com/office/drawing/2014/main" id="{2F58EB60-38A3-4FC5-894A-AE9D63A31CD9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Freihandform: Form 178">
                    <a:extLst>
                      <a:ext uri="{FF2B5EF4-FFF2-40B4-BE49-F238E27FC236}">
                        <a16:creationId xmlns:a16="http://schemas.microsoft.com/office/drawing/2014/main" id="{DE4D3DD3-4793-4592-BF14-09DD99844403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Freihandform: Form 179">
                    <a:extLst>
                      <a:ext uri="{FF2B5EF4-FFF2-40B4-BE49-F238E27FC236}">
                        <a16:creationId xmlns:a16="http://schemas.microsoft.com/office/drawing/2014/main" id="{BE44CA04-CCA3-43BC-8DDA-C9EC8A40560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" name="Freihandform: Form 180">
                    <a:extLst>
                      <a:ext uri="{FF2B5EF4-FFF2-40B4-BE49-F238E27FC236}">
                        <a16:creationId xmlns:a16="http://schemas.microsoft.com/office/drawing/2014/main" id="{DB57E6D9-571E-4183-BB12-6B9FE137BFB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Freihandform: Form 181">
                    <a:extLst>
                      <a:ext uri="{FF2B5EF4-FFF2-40B4-BE49-F238E27FC236}">
                        <a16:creationId xmlns:a16="http://schemas.microsoft.com/office/drawing/2014/main" id="{62571F96-E4BC-41D1-A06A-93B1CC9B232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Freihandform: Form 182">
                    <a:extLst>
                      <a:ext uri="{FF2B5EF4-FFF2-40B4-BE49-F238E27FC236}">
                        <a16:creationId xmlns:a16="http://schemas.microsoft.com/office/drawing/2014/main" id="{6C36039F-A527-4390-A38A-89888EDEE14E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0" name="Freihandform: Form 183">
                    <a:extLst>
                      <a:ext uri="{FF2B5EF4-FFF2-40B4-BE49-F238E27FC236}">
                        <a16:creationId xmlns:a16="http://schemas.microsoft.com/office/drawing/2014/main" id="{5600DCFD-5CBD-4BC6-AE8F-2EA19A2BAB81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1" name="Freihandform: Form 184">
                    <a:extLst>
                      <a:ext uri="{FF2B5EF4-FFF2-40B4-BE49-F238E27FC236}">
                        <a16:creationId xmlns:a16="http://schemas.microsoft.com/office/drawing/2014/main" id="{844DE934-D438-4F0E-AFDE-1D39B8080785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2" name="Freihandform: Form 185">
                    <a:extLst>
                      <a:ext uri="{FF2B5EF4-FFF2-40B4-BE49-F238E27FC236}">
                        <a16:creationId xmlns:a16="http://schemas.microsoft.com/office/drawing/2014/main" id="{2DED94BC-8EDF-4385-ABFC-D226445C9C2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3" name="Freihandform: Form 186">
                    <a:extLst>
                      <a:ext uri="{FF2B5EF4-FFF2-40B4-BE49-F238E27FC236}">
                        <a16:creationId xmlns:a16="http://schemas.microsoft.com/office/drawing/2014/main" id="{64F3488A-BE3F-4D1E-8402-8269CC7BB134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104" name="Grafik 5">
                    <a:extLst>
                      <a:ext uri="{FF2B5EF4-FFF2-40B4-BE49-F238E27FC236}">
                        <a16:creationId xmlns:a16="http://schemas.microsoft.com/office/drawing/2014/main" id="{42D79C2B-89EB-4AC1-ADA8-56409D8A8A70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105" name="Freihandform: Form 188">
                      <a:extLst>
                        <a:ext uri="{FF2B5EF4-FFF2-40B4-BE49-F238E27FC236}">
                          <a16:creationId xmlns:a16="http://schemas.microsoft.com/office/drawing/2014/main" id="{08756933-ED05-4D77-A661-3E8B07A5B1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6" name="Freihandform: Form 189">
                      <a:extLst>
                        <a:ext uri="{FF2B5EF4-FFF2-40B4-BE49-F238E27FC236}">
                          <a16:creationId xmlns:a16="http://schemas.microsoft.com/office/drawing/2014/main" id="{529517DB-6D97-4D7C-842F-6817FF8516D0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7" name="Freihandform: Form 190">
                      <a:extLst>
                        <a:ext uri="{FF2B5EF4-FFF2-40B4-BE49-F238E27FC236}">
                          <a16:creationId xmlns:a16="http://schemas.microsoft.com/office/drawing/2014/main" id="{58853C34-E1E3-4216-BEDB-2DB5C90A55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8" name="Freihandform: Form 191">
                      <a:extLst>
                        <a:ext uri="{FF2B5EF4-FFF2-40B4-BE49-F238E27FC236}">
                          <a16:creationId xmlns:a16="http://schemas.microsoft.com/office/drawing/2014/main" id="{51C90DF5-0D64-4C06-A45A-06407B68F0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9" name="Freihandform: Form 192">
                      <a:extLst>
                        <a:ext uri="{FF2B5EF4-FFF2-40B4-BE49-F238E27FC236}">
                          <a16:creationId xmlns:a16="http://schemas.microsoft.com/office/drawing/2014/main" id="{5E96680D-69BC-4EEA-A7E2-4B58F29BA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0" name="Freihandform: Form 193">
                      <a:extLst>
                        <a:ext uri="{FF2B5EF4-FFF2-40B4-BE49-F238E27FC236}">
                          <a16:creationId xmlns:a16="http://schemas.microsoft.com/office/drawing/2014/main" id="{333C9023-6C78-4727-9793-E72F8DAF01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1" name="Freihandform: Form 194">
                      <a:extLst>
                        <a:ext uri="{FF2B5EF4-FFF2-40B4-BE49-F238E27FC236}">
                          <a16:creationId xmlns:a16="http://schemas.microsoft.com/office/drawing/2014/main" id="{BB7CCD03-3A5F-42F7-B26F-3B4324EDB2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2" name="Freihandform: Form 195">
                      <a:extLst>
                        <a:ext uri="{FF2B5EF4-FFF2-40B4-BE49-F238E27FC236}">
                          <a16:creationId xmlns:a16="http://schemas.microsoft.com/office/drawing/2014/main" id="{14E7A1CD-8C2E-4299-85AD-89FC93C40F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3" name="Freihandform: Form 196">
                      <a:extLst>
                        <a:ext uri="{FF2B5EF4-FFF2-40B4-BE49-F238E27FC236}">
                          <a16:creationId xmlns:a16="http://schemas.microsoft.com/office/drawing/2014/main" id="{853F5270-C796-4F07-91AD-FEBEE80E3C1B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4" name="Freihandform: Form 197">
                      <a:extLst>
                        <a:ext uri="{FF2B5EF4-FFF2-40B4-BE49-F238E27FC236}">
                          <a16:creationId xmlns:a16="http://schemas.microsoft.com/office/drawing/2014/main" id="{6E308D66-821D-4ED1-8473-F5FF95874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5" name="Freihandform: Form 198">
                      <a:extLst>
                        <a:ext uri="{FF2B5EF4-FFF2-40B4-BE49-F238E27FC236}">
                          <a16:creationId xmlns:a16="http://schemas.microsoft.com/office/drawing/2014/main" id="{2F06BB4A-E72F-4FBD-96E2-6B172ECA03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6" name="Freihandform: Form 199">
                      <a:extLst>
                        <a:ext uri="{FF2B5EF4-FFF2-40B4-BE49-F238E27FC236}">
                          <a16:creationId xmlns:a16="http://schemas.microsoft.com/office/drawing/2014/main" id="{B1A0EA27-121B-433E-A4CF-AAD6926811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7" name="Freihandform: Form 200">
                      <a:extLst>
                        <a:ext uri="{FF2B5EF4-FFF2-40B4-BE49-F238E27FC236}">
                          <a16:creationId xmlns:a16="http://schemas.microsoft.com/office/drawing/2014/main" id="{EDD46178-1DF0-4621-81BB-0F49C6E878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8" name="Freihandform: Form 201">
                      <a:extLst>
                        <a:ext uri="{FF2B5EF4-FFF2-40B4-BE49-F238E27FC236}">
                          <a16:creationId xmlns:a16="http://schemas.microsoft.com/office/drawing/2014/main" id="{31074599-4291-4DE4-AC9D-D74EA59A4A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89" name="Freihandform: Form 172">
                  <a:extLst>
                    <a:ext uri="{FF2B5EF4-FFF2-40B4-BE49-F238E27FC236}">
                      <a16:creationId xmlns:a16="http://schemas.microsoft.com/office/drawing/2014/main" id="{8D56A721-FA85-4A91-82D1-71AB6E6B2F54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7" name="Ellipse 170">
                <a:extLst>
                  <a:ext uri="{FF2B5EF4-FFF2-40B4-BE49-F238E27FC236}">
                    <a16:creationId xmlns:a16="http://schemas.microsoft.com/office/drawing/2014/main" id="{E6F5F2EE-EE39-42B5-AA16-05C1710C54B7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2" name="Gruppieren 168">
              <a:extLst>
                <a:ext uri="{FF2B5EF4-FFF2-40B4-BE49-F238E27FC236}">
                  <a16:creationId xmlns:a16="http://schemas.microsoft.com/office/drawing/2014/main" id="{2D91C88C-0FC8-4E17-90E1-EA65903F4A28}"/>
                </a:ext>
              </a:extLst>
            </p:cNvPr>
            <p:cNvGrpSpPr/>
            <p:nvPr/>
          </p:nvGrpSpPr>
          <p:grpSpPr>
            <a:xfrm>
              <a:off x="9935468" y="336447"/>
              <a:ext cx="702670" cy="712587"/>
              <a:chOff x="10366017" y="30973"/>
              <a:chExt cx="2246316" cy="2278019"/>
            </a:xfrm>
          </p:grpSpPr>
          <p:grpSp>
            <p:nvGrpSpPr>
              <p:cNvPr id="53" name="Grafik 5">
                <a:extLst>
                  <a:ext uri="{FF2B5EF4-FFF2-40B4-BE49-F238E27FC236}">
                    <a16:creationId xmlns:a16="http://schemas.microsoft.com/office/drawing/2014/main" id="{3526A497-56FC-4DB3-81D4-C0F34FE9E373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55" name="Grafik 5">
                  <a:extLst>
                    <a:ext uri="{FF2B5EF4-FFF2-40B4-BE49-F238E27FC236}">
                      <a16:creationId xmlns:a16="http://schemas.microsoft.com/office/drawing/2014/main" id="{8845A494-1235-403C-AE8D-CCF7C3574357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57" name="Freihandform: Form 173">
                    <a:extLst>
                      <a:ext uri="{FF2B5EF4-FFF2-40B4-BE49-F238E27FC236}">
                        <a16:creationId xmlns:a16="http://schemas.microsoft.com/office/drawing/2014/main" id="{69A78EF7-1C34-4160-90B0-123CFD15D71E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" name="Freihandform: Form 174">
                    <a:extLst>
                      <a:ext uri="{FF2B5EF4-FFF2-40B4-BE49-F238E27FC236}">
                        <a16:creationId xmlns:a16="http://schemas.microsoft.com/office/drawing/2014/main" id="{0E963FA4-63B3-4DFA-BC7D-66EA32F8C4C3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" name="Freihandform: Form 175">
                    <a:extLst>
                      <a:ext uri="{FF2B5EF4-FFF2-40B4-BE49-F238E27FC236}">
                        <a16:creationId xmlns:a16="http://schemas.microsoft.com/office/drawing/2014/main" id="{B5E55859-FECB-41B4-A563-20535E324570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" name="Freihandform: Form 176">
                    <a:extLst>
                      <a:ext uri="{FF2B5EF4-FFF2-40B4-BE49-F238E27FC236}">
                        <a16:creationId xmlns:a16="http://schemas.microsoft.com/office/drawing/2014/main" id="{0ACC9DC6-5265-4A57-A89C-AA08FC9122B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" name="Freihandform: Form 177">
                    <a:extLst>
                      <a:ext uri="{FF2B5EF4-FFF2-40B4-BE49-F238E27FC236}">
                        <a16:creationId xmlns:a16="http://schemas.microsoft.com/office/drawing/2014/main" id="{34414CF9-C9FE-4635-9761-CFFCE9226390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" name="Freihandform: Form 178">
                    <a:extLst>
                      <a:ext uri="{FF2B5EF4-FFF2-40B4-BE49-F238E27FC236}">
                        <a16:creationId xmlns:a16="http://schemas.microsoft.com/office/drawing/2014/main" id="{67FDC17C-D326-4202-BCF6-DC72867AF97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" name="Freihandform: Form 179">
                    <a:extLst>
                      <a:ext uri="{FF2B5EF4-FFF2-40B4-BE49-F238E27FC236}">
                        <a16:creationId xmlns:a16="http://schemas.microsoft.com/office/drawing/2014/main" id="{87EE647A-CC59-4D1D-BB28-12B61A2081F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" name="Freihandform: Form 180">
                    <a:extLst>
                      <a:ext uri="{FF2B5EF4-FFF2-40B4-BE49-F238E27FC236}">
                        <a16:creationId xmlns:a16="http://schemas.microsoft.com/office/drawing/2014/main" id="{6C0701D4-E3CB-4142-8941-B65C767FBA27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" name="Freihandform: Form 181">
                    <a:extLst>
                      <a:ext uri="{FF2B5EF4-FFF2-40B4-BE49-F238E27FC236}">
                        <a16:creationId xmlns:a16="http://schemas.microsoft.com/office/drawing/2014/main" id="{7C856744-E57C-4608-8C3A-979D974D07F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" name="Freihandform: Form 182">
                    <a:extLst>
                      <a:ext uri="{FF2B5EF4-FFF2-40B4-BE49-F238E27FC236}">
                        <a16:creationId xmlns:a16="http://schemas.microsoft.com/office/drawing/2014/main" id="{5AB67C3E-1337-4AAC-9067-FB0CEACBE81B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Freihandform: Form 183">
                    <a:extLst>
                      <a:ext uri="{FF2B5EF4-FFF2-40B4-BE49-F238E27FC236}">
                        <a16:creationId xmlns:a16="http://schemas.microsoft.com/office/drawing/2014/main" id="{66FDD839-98DA-4346-BE6D-F2BCBA048F28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Freihandform: Form 184">
                    <a:extLst>
                      <a:ext uri="{FF2B5EF4-FFF2-40B4-BE49-F238E27FC236}">
                        <a16:creationId xmlns:a16="http://schemas.microsoft.com/office/drawing/2014/main" id="{2C3B9209-900B-462D-AB80-24BCE7D2275E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" name="Freihandform: Form 185">
                    <a:extLst>
                      <a:ext uri="{FF2B5EF4-FFF2-40B4-BE49-F238E27FC236}">
                        <a16:creationId xmlns:a16="http://schemas.microsoft.com/office/drawing/2014/main" id="{D1129D54-0A06-4A6E-BD76-1D7A56946D9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Freihandform: Form 186">
                    <a:extLst>
                      <a:ext uri="{FF2B5EF4-FFF2-40B4-BE49-F238E27FC236}">
                        <a16:creationId xmlns:a16="http://schemas.microsoft.com/office/drawing/2014/main" id="{FB8A4BF9-95D0-4C0D-A7BB-97BE7C845D2B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71" name="Grafik 5">
                    <a:extLst>
                      <a:ext uri="{FF2B5EF4-FFF2-40B4-BE49-F238E27FC236}">
                        <a16:creationId xmlns:a16="http://schemas.microsoft.com/office/drawing/2014/main" id="{EB5D59D4-788A-48C3-8211-570A63E967BF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72" name="Freihandform: Form 188">
                      <a:extLst>
                        <a:ext uri="{FF2B5EF4-FFF2-40B4-BE49-F238E27FC236}">
                          <a16:creationId xmlns:a16="http://schemas.microsoft.com/office/drawing/2014/main" id="{12FABE64-CE90-4249-90A1-3A97C12F14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3" name="Freihandform: Form 189">
                      <a:extLst>
                        <a:ext uri="{FF2B5EF4-FFF2-40B4-BE49-F238E27FC236}">
                          <a16:creationId xmlns:a16="http://schemas.microsoft.com/office/drawing/2014/main" id="{BF300DFE-EDB1-4659-BC29-C3014C17273F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4" name="Freihandform: Form 190">
                      <a:extLst>
                        <a:ext uri="{FF2B5EF4-FFF2-40B4-BE49-F238E27FC236}">
                          <a16:creationId xmlns:a16="http://schemas.microsoft.com/office/drawing/2014/main" id="{54CD7C24-96D7-42E5-925E-CEEB44B7D0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5" name="Freihandform: Form 191">
                      <a:extLst>
                        <a:ext uri="{FF2B5EF4-FFF2-40B4-BE49-F238E27FC236}">
                          <a16:creationId xmlns:a16="http://schemas.microsoft.com/office/drawing/2014/main" id="{DD4768E7-8059-4C27-BE21-677115EDA6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6" name="Freihandform: Form 192">
                      <a:extLst>
                        <a:ext uri="{FF2B5EF4-FFF2-40B4-BE49-F238E27FC236}">
                          <a16:creationId xmlns:a16="http://schemas.microsoft.com/office/drawing/2014/main" id="{F54DF6F8-8C4F-410B-A3D7-E73C7459B6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7" name="Freihandform: Form 193">
                      <a:extLst>
                        <a:ext uri="{FF2B5EF4-FFF2-40B4-BE49-F238E27FC236}">
                          <a16:creationId xmlns:a16="http://schemas.microsoft.com/office/drawing/2014/main" id="{13D28E75-67B9-4230-B47D-1015C74586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8" name="Freihandform: Form 194">
                      <a:extLst>
                        <a:ext uri="{FF2B5EF4-FFF2-40B4-BE49-F238E27FC236}">
                          <a16:creationId xmlns:a16="http://schemas.microsoft.com/office/drawing/2014/main" id="{DD3EC4B1-3F24-4BCC-B941-168A97F589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9" name="Freihandform: Form 195">
                      <a:extLst>
                        <a:ext uri="{FF2B5EF4-FFF2-40B4-BE49-F238E27FC236}">
                          <a16:creationId xmlns:a16="http://schemas.microsoft.com/office/drawing/2014/main" id="{920A2C19-802C-485D-AA62-3E1C96B573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0" name="Freihandform: Form 196">
                      <a:extLst>
                        <a:ext uri="{FF2B5EF4-FFF2-40B4-BE49-F238E27FC236}">
                          <a16:creationId xmlns:a16="http://schemas.microsoft.com/office/drawing/2014/main" id="{87C32F63-B097-4A07-B9AF-C8F2D847CF03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1" name="Freihandform: Form 197">
                      <a:extLst>
                        <a:ext uri="{FF2B5EF4-FFF2-40B4-BE49-F238E27FC236}">
                          <a16:creationId xmlns:a16="http://schemas.microsoft.com/office/drawing/2014/main" id="{132FD36F-0079-4A06-9A4A-E7B3C6D704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2" name="Freihandform: Form 198">
                      <a:extLst>
                        <a:ext uri="{FF2B5EF4-FFF2-40B4-BE49-F238E27FC236}">
                          <a16:creationId xmlns:a16="http://schemas.microsoft.com/office/drawing/2014/main" id="{62FCEABD-EE7C-4352-854D-0886BC63B9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3" name="Freihandform: Form 199">
                      <a:extLst>
                        <a:ext uri="{FF2B5EF4-FFF2-40B4-BE49-F238E27FC236}">
                          <a16:creationId xmlns:a16="http://schemas.microsoft.com/office/drawing/2014/main" id="{83A2A145-ED73-4AD8-BE52-6F1245C2D1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4" name="Freihandform: Form 200">
                      <a:extLst>
                        <a:ext uri="{FF2B5EF4-FFF2-40B4-BE49-F238E27FC236}">
                          <a16:creationId xmlns:a16="http://schemas.microsoft.com/office/drawing/2014/main" id="{605FE578-2136-45E8-ACBD-38874AE552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5" name="Freihandform: Form 201">
                      <a:extLst>
                        <a:ext uri="{FF2B5EF4-FFF2-40B4-BE49-F238E27FC236}">
                          <a16:creationId xmlns:a16="http://schemas.microsoft.com/office/drawing/2014/main" id="{3FC875BB-C179-46BF-AAF0-96A92963C0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56" name="Freihandform: Form 172">
                  <a:extLst>
                    <a:ext uri="{FF2B5EF4-FFF2-40B4-BE49-F238E27FC236}">
                      <a16:creationId xmlns:a16="http://schemas.microsoft.com/office/drawing/2014/main" id="{10D32005-EC8F-4863-84B4-FEBFFB7BFE7D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4" name="Ellipse 170">
                <a:extLst>
                  <a:ext uri="{FF2B5EF4-FFF2-40B4-BE49-F238E27FC236}">
                    <a16:creationId xmlns:a16="http://schemas.microsoft.com/office/drawing/2014/main" id="{D72486BD-3912-46A4-86DB-08614A5D2C56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3" name="Gruppieren 168">
              <a:extLst>
                <a:ext uri="{FF2B5EF4-FFF2-40B4-BE49-F238E27FC236}">
                  <a16:creationId xmlns:a16="http://schemas.microsoft.com/office/drawing/2014/main" id="{49FEF36E-D4C1-453A-89A3-09F892E5EA65}"/>
                </a:ext>
              </a:extLst>
            </p:cNvPr>
            <p:cNvGrpSpPr/>
            <p:nvPr/>
          </p:nvGrpSpPr>
          <p:grpSpPr>
            <a:xfrm>
              <a:off x="10943437" y="334624"/>
              <a:ext cx="702670" cy="712587"/>
              <a:chOff x="10366017" y="30973"/>
              <a:chExt cx="2246316" cy="2278019"/>
            </a:xfrm>
          </p:grpSpPr>
          <p:grpSp>
            <p:nvGrpSpPr>
              <p:cNvPr id="14" name="Grafik 5">
                <a:extLst>
                  <a:ext uri="{FF2B5EF4-FFF2-40B4-BE49-F238E27FC236}">
                    <a16:creationId xmlns:a16="http://schemas.microsoft.com/office/drawing/2014/main" id="{94196336-3D74-490E-BB94-01BF5A947506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18" name="Grafik 5">
                  <a:extLst>
                    <a:ext uri="{FF2B5EF4-FFF2-40B4-BE49-F238E27FC236}">
                      <a16:creationId xmlns:a16="http://schemas.microsoft.com/office/drawing/2014/main" id="{2785D0C1-CDA2-4788-9DE4-35EE0A090704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20" name="Freihandform: Form 173">
                    <a:extLst>
                      <a:ext uri="{FF2B5EF4-FFF2-40B4-BE49-F238E27FC236}">
                        <a16:creationId xmlns:a16="http://schemas.microsoft.com/office/drawing/2014/main" id="{E0879FFA-8FD4-4852-9F08-86DFA2DAABB4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" name="Freihandform: Form 174">
                    <a:extLst>
                      <a:ext uri="{FF2B5EF4-FFF2-40B4-BE49-F238E27FC236}">
                        <a16:creationId xmlns:a16="http://schemas.microsoft.com/office/drawing/2014/main" id="{8656D6C2-0B60-4272-97DD-BFEF660E01B2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Freihandform: Form 175">
                    <a:extLst>
                      <a:ext uri="{FF2B5EF4-FFF2-40B4-BE49-F238E27FC236}">
                        <a16:creationId xmlns:a16="http://schemas.microsoft.com/office/drawing/2014/main" id="{79C649FF-5657-4F4D-9AFB-5F0E1303AD3F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" name="Freihandform: Form 176">
                    <a:extLst>
                      <a:ext uri="{FF2B5EF4-FFF2-40B4-BE49-F238E27FC236}">
                        <a16:creationId xmlns:a16="http://schemas.microsoft.com/office/drawing/2014/main" id="{D5CC29A1-6941-4F88-8F8C-6C352DDC443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" name="Freihandform: Form 177">
                    <a:extLst>
                      <a:ext uri="{FF2B5EF4-FFF2-40B4-BE49-F238E27FC236}">
                        <a16:creationId xmlns:a16="http://schemas.microsoft.com/office/drawing/2014/main" id="{8A597600-9993-433F-98C5-1FB8020C1EC2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" name="Freihandform: Form 178">
                    <a:extLst>
                      <a:ext uri="{FF2B5EF4-FFF2-40B4-BE49-F238E27FC236}">
                        <a16:creationId xmlns:a16="http://schemas.microsoft.com/office/drawing/2014/main" id="{5210DC4B-5658-4799-B906-1B9253B1510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0" name="Freihandform: Form 179">
                    <a:extLst>
                      <a:ext uri="{FF2B5EF4-FFF2-40B4-BE49-F238E27FC236}">
                        <a16:creationId xmlns:a16="http://schemas.microsoft.com/office/drawing/2014/main" id="{8CBB904B-7E56-4BA0-A272-CB69C521BB82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" name="Freihandform: Form 180">
                    <a:extLst>
                      <a:ext uri="{FF2B5EF4-FFF2-40B4-BE49-F238E27FC236}">
                        <a16:creationId xmlns:a16="http://schemas.microsoft.com/office/drawing/2014/main" id="{3B7B6E8D-39E6-40BD-BC37-529D1BACF1C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" name="Freihandform: Form 181">
                    <a:extLst>
                      <a:ext uri="{FF2B5EF4-FFF2-40B4-BE49-F238E27FC236}">
                        <a16:creationId xmlns:a16="http://schemas.microsoft.com/office/drawing/2014/main" id="{6B7D7C75-46B5-4821-AD3D-84288E8317D8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" name="Freihandform: Form 182">
                    <a:extLst>
                      <a:ext uri="{FF2B5EF4-FFF2-40B4-BE49-F238E27FC236}">
                        <a16:creationId xmlns:a16="http://schemas.microsoft.com/office/drawing/2014/main" id="{E7EB9117-178F-428E-B769-534F1D88F294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" name="Freihandform: Form 183">
                    <a:extLst>
                      <a:ext uri="{FF2B5EF4-FFF2-40B4-BE49-F238E27FC236}">
                        <a16:creationId xmlns:a16="http://schemas.microsoft.com/office/drawing/2014/main" id="{FBE3DC25-AB04-4E96-AC23-4F506C8EBFAE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" name="Freihandform: Form 184">
                    <a:extLst>
                      <a:ext uri="{FF2B5EF4-FFF2-40B4-BE49-F238E27FC236}">
                        <a16:creationId xmlns:a16="http://schemas.microsoft.com/office/drawing/2014/main" id="{0CD0A21E-35BC-4FCF-915E-AFC50052C69C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6" name="Freihandform: Form 185">
                    <a:extLst>
                      <a:ext uri="{FF2B5EF4-FFF2-40B4-BE49-F238E27FC236}">
                        <a16:creationId xmlns:a16="http://schemas.microsoft.com/office/drawing/2014/main" id="{FC721DD0-1D6A-46CC-B989-16AFC81BFC4C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" name="Freihandform: Form 186">
                    <a:extLst>
                      <a:ext uri="{FF2B5EF4-FFF2-40B4-BE49-F238E27FC236}">
                        <a16:creationId xmlns:a16="http://schemas.microsoft.com/office/drawing/2014/main" id="{79ED9F5F-94B3-4276-BE5D-789E69907677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" name="Grafik 5">
                    <a:extLst>
                      <a:ext uri="{FF2B5EF4-FFF2-40B4-BE49-F238E27FC236}">
                        <a16:creationId xmlns:a16="http://schemas.microsoft.com/office/drawing/2014/main" id="{4A90D31E-4AF8-416D-9D63-C0C20A8D2B29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39" name="Freihandform: Form 188">
                      <a:extLst>
                        <a:ext uri="{FF2B5EF4-FFF2-40B4-BE49-F238E27FC236}">
                          <a16:creationId xmlns:a16="http://schemas.microsoft.com/office/drawing/2014/main" id="{63D88DF8-E96F-4D7F-9795-CF005175F9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0" name="Freihandform: Form 189">
                      <a:extLst>
                        <a:ext uri="{FF2B5EF4-FFF2-40B4-BE49-F238E27FC236}">
                          <a16:creationId xmlns:a16="http://schemas.microsoft.com/office/drawing/2014/main" id="{FD2B1FF9-7C17-423E-A128-72408CF40B4B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1" name="Freihandform: Form 190">
                      <a:extLst>
                        <a:ext uri="{FF2B5EF4-FFF2-40B4-BE49-F238E27FC236}">
                          <a16:creationId xmlns:a16="http://schemas.microsoft.com/office/drawing/2014/main" id="{280AA17C-92CD-409E-B4DB-860D2EDE0C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2" name="Freihandform: Form 191">
                      <a:extLst>
                        <a:ext uri="{FF2B5EF4-FFF2-40B4-BE49-F238E27FC236}">
                          <a16:creationId xmlns:a16="http://schemas.microsoft.com/office/drawing/2014/main" id="{B461D9AE-4D53-4209-AD25-2D4E864869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3" name="Freihandform: Form 192">
                      <a:extLst>
                        <a:ext uri="{FF2B5EF4-FFF2-40B4-BE49-F238E27FC236}">
                          <a16:creationId xmlns:a16="http://schemas.microsoft.com/office/drawing/2014/main" id="{9B5C64E6-8EF5-4A0C-8D95-D25B9D70C8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4" name="Freihandform: Form 193">
                      <a:extLst>
                        <a:ext uri="{FF2B5EF4-FFF2-40B4-BE49-F238E27FC236}">
                          <a16:creationId xmlns:a16="http://schemas.microsoft.com/office/drawing/2014/main" id="{38D10A3D-9EBD-4282-91B6-20E5AE29EC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5" name="Freihandform: Form 194">
                      <a:extLst>
                        <a:ext uri="{FF2B5EF4-FFF2-40B4-BE49-F238E27FC236}">
                          <a16:creationId xmlns:a16="http://schemas.microsoft.com/office/drawing/2014/main" id="{D18302AF-D5A8-48F5-9278-8FC2951A58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6" name="Freihandform: Form 195">
                      <a:extLst>
                        <a:ext uri="{FF2B5EF4-FFF2-40B4-BE49-F238E27FC236}">
                          <a16:creationId xmlns:a16="http://schemas.microsoft.com/office/drawing/2014/main" id="{5897F0D5-0D03-43D7-85E4-1F1A4E7227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7" name="Freihandform: Form 196">
                      <a:extLst>
                        <a:ext uri="{FF2B5EF4-FFF2-40B4-BE49-F238E27FC236}">
                          <a16:creationId xmlns:a16="http://schemas.microsoft.com/office/drawing/2014/main" id="{A3AF54DA-4169-47AB-877E-F028267B2A74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8" name="Freihandform: Form 197">
                      <a:extLst>
                        <a:ext uri="{FF2B5EF4-FFF2-40B4-BE49-F238E27FC236}">
                          <a16:creationId xmlns:a16="http://schemas.microsoft.com/office/drawing/2014/main" id="{F5ACC607-6148-4223-8E09-57114ADEF5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9" name="Freihandform: Form 198">
                      <a:extLst>
                        <a:ext uri="{FF2B5EF4-FFF2-40B4-BE49-F238E27FC236}">
                          <a16:creationId xmlns:a16="http://schemas.microsoft.com/office/drawing/2014/main" id="{5F7989BE-C6AA-455C-8F02-C5806BB565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0" name="Freihandform: Form 199">
                      <a:extLst>
                        <a:ext uri="{FF2B5EF4-FFF2-40B4-BE49-F238E27FC236}">
                          <a16:creationId xmlns:a16="http://schemas.microsoft.com/office/drawing/2014/main" id="{11FA48EF-906B-4136-9C8F-E3867EAB22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1" name="Freihandform: Form 200">
                      <a:extLst>
                        <a:ext uri="{FF2B5EF4-FFF2-40B4-BE49-F238E27FC236}">
                          <a16:creationId xmlns:a16="http://schemas.microsoft.com/office/drawing/2014/main" id="{6A2725EB-229C-444A-BD1F-1D8076F581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2" name="Freihandform: Form 201">
                      <a:extLst>
                        <a:ext uri="{FF2B5EF4-FFF2-40B4-BE49-F238E27FC236}">
                          <a16:creationId xmlns:a16="http://schemas.microsoft.com/office/drawing/2014/main" id="{53405413-BC7B-4D2F-915E-C5CF4E5ED1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9" name="Freihandform: Form 172">
                  <a:extLst>
                    <a:ext uri="{FF2B5EF4-FFF2-40B4-BE49-F238E27FC236}">
                      <a16:creationId xmlns:a16="http://schemas.microsoft.com/office/drawing/2014/main" id="{367A1EAC-79AF-4176-94D6-E222773157F9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" name="Ellipse 170">
                <a:extLst>
                  <a:ext uri="{FF2B5EF4-FFF2-40B4-BE49-F238E27FC236}">
                    <a16:creationId xmlns:a16="http://schemas.microsoft.com/office/drawing/2014/main" id="{21452493-90A6-417D-BCA1-3D4C161E87A5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27430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1577740" y="1170179"/>
            <a:ext cx="5616000" cy="33316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Network Analytics Postmortems we understood that roughly 50% of the major network incidents are configuration related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Network engineers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unable to understand all the end-to-end dependencies on all the layers 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in highly virtualized networks.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32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7380857" y="3689849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742623" y="1040441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4229C52-005A-4F3A-826D-8B06B8B911BD}"/>
              </a:ext>
            </a:extLst>
          </p:cNvPr>
          <p:cNvSpPr txBox="1">
            <a:spLocks/>
          </p:cNvSpPr>
          <p:nvPr/>
        </p:nvSpPr>
        <p:spPr bwMode="black">
          <a:xfrm>
            <a:off x="929740" y="5157000"/>
            <a:ext cx="6264000" cy="12247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omas Graf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istinguished Network Engineer 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Network Analytics Architect at Swisscom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8" name="Picture Placeholder 8">
            <a:extLst>
              <a:ext uri="{FF2B5EF4-FFF2-40B4-BE49-F238E27FC236}">
                <a16:creationId xmlns:a16="http://schemas.microsoft.com/office/drawing/2014/main" id="{68405047-376C-4457-A3CF-843CB4E933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00" r="20350"/>
          <a:stretch/>
        </p:blipFill>
        <p:spPr>
          <a:xfrm>
            <a:off x="8399724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2046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5448000" y="1386180"/>
            <a:ext cx="5616000" cy="28179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ithin 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an 8 months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etwork Anomaly Detection 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Proof of Concept, we observed that reaction times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o operational and configurational changes in the network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 was reduced,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ut also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itial context helped to quicker identify the root cause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o further improve, 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ietf-network.yang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 and 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ietf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-network-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topology.yang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 defined in RFC 8345 details network modelling, especially on configurational aspects.</a:t>
            </a: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11346223" y="3776342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4800000" y="1301120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4229C52-005A-4F3A-826D-8B06B8B911BD}"/>
              </a:ext>
            </a:extLst>
          </p:cNvPr>
          <p:cNvSpPr txBox="1">
            <a:spLocks/>
          </p:cNvSpPr>
          <p:nvPr/>
        </p:nvSpPr>
        <p:spPr bwMode="black">
          <a:xfrm>
            <a:off x="4800000" y="5157000"/>
            <a:ext cx="6264000" cy="12247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omas Graf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istinguished Network Engineer 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Network Analytics Architect at Swisscom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6" name="Picture 5" descr="A picture containing person, person, outdoor, concrete&#10;&#10;Description automatically generated">
            <a:extLst>
              <a:ext uri="{FF2B5EF4-FFF2-40B4-BE49-F238E27FC236}">
                <a16:creationId xmlns:a16="http://schemas.microsoft.com/office/drawing/2014/main" id="{AFE16EF3-7433-40D2-8973-A43D996869B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33" r="35688"/>
          <a:stretch/>
        </p:blipFill>
        <p:spPr>
          <a:xfrm>
            <a:off x="1201777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3493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1577740" y="1170179"/>
            <a:ext cx="5616000" cy="33316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e Digital Map, draft-</a:t>
            </a:r>
            <a:r>
              <a:rPr kumimoji="0" lang="en-US" sz="2400" b="1" i="0" u="none" strike="noStrike" kern="1200" cap="none" spc="-5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havel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-opsawg-digital-map, points correctly out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hat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missing Bidirectional links and support for Multi-point connectivity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 RFC 8345 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ietf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-network-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topology.yang</a:t>
            </a:r>
            <a:r>
              <a:rPr lang="en-US" sz="2400">
                <a:solidFill>
                  <a:srgbClr val="FF0000"/>
                </a:solidFill>
                <a:latin typeface="TheSans Swisscom Light"/>
              </a:rPr>
              <a:t> </a:t>
            </a:r>
            <a:r>
              <a:rPr kumimoji="0" lang="en-US" sz="2400" b="1" i="0" u="none" strike="noStrike" kern="1200" cap="none" spc="-5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akes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e implementation rather complicated or even renders certain topologies as unusable.</a:t>
            </a:r>
            <a:endParaRPr kumimoji="0" lang="en-US" sz="32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7380857" y="3689849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742623" y="1040441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pic>
        <p:nvPicPr>
          <p:cNvPr id="7" name="Grafik 12">
            <a:extLst>
              <a:ext uri="{FF2B5EF4-FFF2-40B4-BE49-F238E27FC236}">
                <a16:creationId xmlns:a16="http://schemas.microsoft.com/office/drawing/2014/main" id="{AF6B45BE-4D0E-B9AA-FD05-3B46ADC3FED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7496" t="8163" r="19856" b="21450"/>
          <a:stretch/>
        </p:blipFill>
        <p:spPr>
          <a:xfrm>
            <a:off x="8403336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325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5448000" y="1386180"/>
            <a:ext cx="5616000" cy="28179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finally, and most importantly, with the Digital Map network modelling,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he foundation for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imulating network configuration changes in lab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s at reach. Preventing networking incidents from evening happening.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Resolving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he problem that lab environments are never identical to production network.  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11346223" y="3776342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4800000" y="1301120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pic>
        <p:nvPicPr>
          <p:cNvPr id="3" name="Bildplatzhalter 5">
            <a:extLst>
              <a:ext uri="{FF2B5EF4-FFF2-40B4-BE49-F238E27FC236}">
                <a16:creationId xmlns:a16="http://schemas.microsoft.com/office/drawing/2014/main" id="{4C3BF9F6-C7E5-D000-B6C8-04EB420FE9E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13" t="9162" r="47124" b="1432"/>
          <a:stretch/>
        </p:blipFill>
        <p:spPr>
          <a:xfrm flipH="1">
            <a:off x="1207649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17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17A6DA17-156A-4F5E-B81C-D64FF1E7B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CH" smtClean="0"/>
              <a:pPr/>
              <a:t>9</a:t>
            </a:fld>
            <a:endParaRPr lang="de-CH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209106-683C-4E8E-9C26-ED12DED9E902}"/>
              </a:ext>
            </a:extLst>
          </p:cNvPr>
          <p:cNvGrpSpPr/>
          <p:nvPr/>
        </p:nvGrpSpPr>
        <p:grpSpPr>
          <a:xfrm>
            <a:off x="4750838" y="5180742"/>
            <a:ext cx="2690324" cy="724949"/>
            <a:chOff x="8955783" y="324085"/>
            <a:chExt cx="2690324" cy="724949"/>
          </a:xfrm>
        </p:grpSpPr>
        <p:grpSp>
          <p:nvGrpSpPr>
            <p:cNvPr id="11" name="Gruppieren 168">
              <a:extLst>
                <a:ext uri="{FF2B5EF4-FFF2-40B4-BE49-F238E27FC236}">
                  <a16:creationId xmlns:a16="http://schemas.microsoft.com/office/drawing/2014/main" id="{14DC1D05-0086-4C2B-8E18-ABD9BF1D37D8}"/>
                </a:ext>
              </a:extLst>
            </p:cNvPr>
            <p:cNvGrpSpPr/>
            <p:nvPr/>
          </p:nvGrpSpPr>
          <p:grpSpPr>
            <a:xfrm>
              <a:off x="8955783" y="324085"/>
              <a:ext cx="702670" cy="712587"/>
              <a:chOff x="10366017" y="30973"/>
              <a:chExt cx="2246316" cy="2278019"/>
            </a:xfrm>
          </p:grpSpPr>
          <p:grpSp>
            <p:nvGrpSpPr>
              <p:cNvPr id="86" name="Grafik 5">
                <a:extLst>
                  <a:ext uri="{FF2B5EF4-FFF2-40B4-BE49-F238E27FC236}">
                    <a16:creationId xmlns:a16="http://schemas.microsoft.com/office/drawing/2014/main" id="{B82DDF56-43C4-4D1B-8671-9D28D6A7C88F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88" name="Grafik 5">
                  <a:extLst>
                    <a:ext uri="{FF2B5EF4-FFF2-40B4-BE49-F238E27FC236}">
                      <a16:creationId xmlns:a16="http://schemas.microsoft.com/office/drawing/2014/main" id="{5BE20CCA-C28C-41E2-86CE-5B23E5F93D3D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90" name="Freihandform: Form 173">
                    <a:extLst>
                      <a:ext uri="{FF2B5EF4-FFF2-40B4-BE49-F238E27FC236}">
                        <a16:creationId xmlns:a16="http://schemas.microsoft.com/office/drawing/2014/main" id="{7C9C6FB6-AEB5-4CA9-8EE9-FE7C2E144E6F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" name="Freihandform: Form 174">
                    <a:extLst>
                      <a:ext uri="{FF2B5EF4-FFF2-40B4-BE49-F238E27FC236}">
                        <a16:creationId xmlns:a16="http://schemas.microsoft.com/office/drawing/2014/main" id="{A5A1DFB5-3D1A-4C63-9F47-2944EDE19907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" name="Freihandform: Form 175">
                    <a:extLst>
                      <a:ext uri="{FF2B5EF4-FFF2-40B4-BE49-F238E27FC236}">
                        <a16:creationId xmlns:a16="http://schemas.microsoft.com/office/drawing/2014/main" id="{557FAEFA-0C63-4F99-BA0D-98E75A5058DB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" name="Freihandform: Form 176">
                    <a:extLst>
                      <a:ext uri="{FF2B5EF4-FFF2-40B4-BE49-F238E27FC236}">
                        <a16:creationId xmlns:a16="http://schemas.microsoft.com/office/drawing/2014/main" id="{21934B1C-A5ED-41DD-B537-A8D527E77AA0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" name="Freihandform: Form 177">
                    <a:extLst>
                      <a:ext uri="{FF2B5EF4-FFF2-40B4-BE49-F238E27FC236}">
                        <a16:creationId xmlns:a16="http://schemas.microsoft.com/office/drawing/2014/main" id="{2F58EB60-38A3-4FC5-894A-AE9D63A31CD9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Freihandform: Form 178">
                    <a:extLst>
                      <a:ext uri="{FF2B5EF4-FFF2-40B4-BE49-F238E27FC236}">
                        <a16:creationId xmlns:a16="http://schemas.microsoft.com/office/drawing/2014/main" id="{DE4D3DD3-4793-4592-BF14-09DD99844403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Freihandform: Form 179">
                    <a:extLst>
                      <a:ext uri="{FF2B5EF4-FFF2-40B4-BE49-F238E27FC236}">
                        <a16:creationId xmlns:a16="http://schemas.microsoft.com/office/drawing/2014/main" id="{BE44CA04-CCA3-43BC-8DDA-C9EC8A40560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" name="Freihandform: Form 180">
                    <a:extLst>
                      <a:ext uri="{FF2B5EF4-FFF2-40B4-BE49-F238E27FC236}">
                        <a16:creationId xmlns:a16="http://schemas.microsoft.com/office/drawing/2014/main" id="{DB57E6D9-571E-4183-BB12-6B9FE137BFB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Freihandform: Form 181">
                    <a:extLst>
                      <a:ext uri="{FF2B5EF4-FFF2-40B4-BE49-F238E27FC236}">
                        <a16:creationId xmlns:a16="http://schemas.microsoft.com/office/drawing/2014/main" id="{62571F96-E4BC-41D1-A06A-93B1CC9B232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Freihandform: Form 182">
                    <a:extLst>
                      <a:ext uri="{FF2B5EF4-FFF2-40B4-BE49-F238E27FC236}">
                        <a16:creationId xmlns:a16="http://schemas.microsoft.com/office/drawing/2014/main" id="{6C36039F-A527-4390-A38A-89888EDEE14E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0" name="Freihandform: Form 183">
                    <a:extLst>
                      <a:ext uri="{FF2B5EF4-FFF2-40B4-BE49-F238E27FC236}">
                        <a16:creationId xmlns:a16="http://schemas.microsoft.com/office/drawing/2014/main" id="{5600DCFD-5CBD-4BC6-AE8F-2EA19A2BAB81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1" name="Freihandform: Form 184">
                    <a:extLst>
                      <a:ext uri="{FF2B5EF4-FFF2-40B4-BE49-F238E27FC236}">
                        <a16:creationId xmlns:a16="http://schemas.microsoft.com/office/drawing/2014/main" id="{844DE934-D438-4F0E-AFDE-1D39B8080785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2" name="Freihandform: Form 185">
                    <a:extLst>
                      <a:ext uri="{FF2B5EF4-FFF2-40B4-BE49-F238E27FC236}">
                        <a16:creationId xmlns:a16="http://schemas.microsoft.com/office/drawing/2014/main" id="{2DED94BC-8EDF-4385-ABFC-D226445C9C2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3" name="Freihandform: Form 186">
                    <a:extLst>
                      <a:ext uri="{FF2B5EF4-FFF2-40B4-BE49-F238E27FC236}">
                        <a16:creationId xmlns:a16="http://schemas.microsoft.com/office/drawing/2014/main" id="{64F3488A-BE3F-4D1E-8402-8269CC7BB134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104" name="Grafik 5">
                    <a:extLst>
                      <a:ext uri="{FF2B5EF4-FFF2-40B4-BE49-F238E27FC236}">
                        <a16:creationId xmlns:a16="http://schemas.microsoft.com/office/drawing/2014/main" id="{42D79C2B-89EB-4AC1-ADA8-56409D8A8A70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105" name="Freihandform: Form 188">
                      <a:extLst>
                        <a:ext uri="{FF2B5EF4-FFF2-40B4-BE49-F238E27FC236}">
                          <a16:creationId xmlns:a16="http://schemas.microsoft.com/office/drawing/2014/main" id="{08756933-ED05-4D77-A661-3E8B07A5B1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6" name="Freihandform: Form 189">
                      <a:extLst>
                        <a:ext uri="{FF2B5EF4-FFF2-40B4-BE49-F238E27FC236}">
                          <a16:creationId xmlns:a16="http://schemas.microsoft.com/office/drawing/2014/main" id="{529517DB-6D97-4D7C-842F-6817FF8516D0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7" name="Freihandform: Form 190">
                      <a:extLst>
                        <a:ext uri="{FF2B5EF4-FFF2-40B4-BE49-F238E27FC236}">
                          <a16:creationId xmlns:a16="http://schemas.microsoft.com/office/drawing/2014/main" id="{58853C34-E1E3-4216-BEDB-2DB5C90A55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8" name="Freihandform: Form 191">
                      <a:extLst>
                        <a:ext uri="{FF2B5EF4-FFF2-40B4-BE49-F238E27FC236}">
                          <a16:creationId xmlns:a16="http://schemas.microsoft.com/office/drawing/2014/main" id="{51C90DF5-0D64-4C06-A45A-06407B68F0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9" name="Freihandform: Form 192">
                      <a:extLst>
                        <a:ext uri="{FF2B5EF4-FFF2-40B4-BE49-F238E27FC236}">
                          <a16:creationId xmlns:a16="http://schemas.microsoft.com/office/drawing/2014/main" id="{5E96680D-69BC-4EEA-A7E2-4B58F29BA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0" name="Freihandform: Form 193">
                      <a:extLst>
                        <a:ext uri="{FF2B5EF4-FFF2-40B4-BE49-F238E27FC236}">
                          <a16:creationId xmlns:a16="http://schemas.microsoft.com/office/drawing/2014/main" id="{333C9023-6C78-4727-9793-E72F8DAF01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1" name="Freihandform: Form 194">
                      <a:extLst>
                        <a:ext uri="{FF2B5EF4-FFF2-40B4-BE49-F238E27FC236}">
                          <a16:creationId xmlns:a16="http://schemas.microsoft.com/office/drawing/2014/main" id="{BB7CCD03-3A5F-42F7-B26F-3B4324EDB2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2" name="Freihandform: Form 195">
                      <a:extLst>
                        <a:ext uri="{FF2B5EF4-FFF2-40B4-BE49-F238E27FC236}">
                          <a16:creationId xmlns:a16="http://schemas.microsoft.com/office/drawing/2014/main" id="{14E7A1CD-8C2E-4299-85AD-89FC93C40F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3" name="Freihandform: Form 196">
                      <a:extLst>
                        <a:ext uri="{FF2B5EF4-FFF2-40B4-BE49-F238E27FC236}">
                          <a16:creationId xmlns:a16="http://schemas.microsoft.com/office/drawing/2014/main" id="{853F5270-C796-4F07-91AD-FEBEE80E3C1B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4" name="Freihandform: Form 197">
                      <a:extLst>
                        <a:ext uri="{FF2B5EF4-FFF2-40B4-BE49-F238E27FC236}">
                          <a16:creationId xmlns:a16="http://schemas.microsoft.com/office/drawing/2014/main" id="{6E308D66-821D-4ED1-8473-F5FF95874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5" name="Freihandform: Form 198">
                      <a:extLst>
                        <a:ext uri="{FF2B5EF4-FFF2-40B4-BE49-F238E27FC236}">
                          <a16:creationId xmlns:a16="http://schemas.microsoft.com/office/drawing/2014/main" id="{2F06BB4A-E72F-4FBD-96E2-6B172ECA03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6" name="Freihandform: Form 199">
                      <a:extLst>
                        <a:ext uri="{FF2B5EF4-FFF2-40B4-BE49-F238E27FC236}">
                          <a16:creationId xmlns:a16="http://schemas.microsoft.com/office/drawing/2014/main" id="{B1A0EA27-121B-433E-A4CF-AAD6926811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7" name="Freihandform: Form 200">
                      <a:extLst>
                        <a:ext uri="{FF2B5EF4-FFF2-40B4-BE49-F238E27FC236}">
                          <a16:creationId xmlns:a16="http://schemas.microsoft.com/office/drawing/2014/main" id="{EDD46178-1DF0-4621-81BB-0F49C6E878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8" name="Freihandform: Form 201">
                      <a:extLst>
                        <a:ext uri="{FF2B5EF4-FFF2-40B4-BE49-F238E27FC236}">
                          <a16:creationId xmlns:a16="http://schemas.microsoft.com/office/drawing/2014/main" id="{31074599-4291-4DE4-AC9D-D74EA59A4A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89" name="Freihandform: Form 172">
                  <a:extLst>
                    <a:ext uri="{FF2B5EF4-FFF2-40B4-BE49-F238E27FC236}">
                      <a16:creationId xmlns:a16="http://schemas.microsoft.com/office/drawing/2014/main" id="{8D56A721-FA85-4A91-82D1-71AB6E6B2F54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7" name="Ellipse 170">
                <a:extLst>
                  <a:ext uri="{FF2B5EF4-FFF2-40B4-BE49-F238E27FC236}">
                    <a16:creationId xmlns:a16="http://schemas.microsoft.com/office/drawing/2014/main" id="{E6F5F2EE-EE39-42B5-AA16-05C1710C54B7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2" name="Gruppieren 168">
              <a:extLst>
                <a:ext uri="{FF2B5EF4-FFF2-40B4-BE49-F238E27FC236}">
                  <a16:creationId xmlns:a16="http://schemas.microsoft.com/office/drawing/2014/main" id="{2D91C88C-0FC8-4E17-90E1-EA65903F4A28}"/>
                </a:ext>
              </a:extLst>
            </p:cNvPr>
            <p:cNvGrpSpPr/>
            <p:nvPr/>
          </p:nvGrpSpPr>
          <p:grpSpPr>
            <a:xfrm>
              <a:off x="9935468" y="336447"/>
              <a:ext cx="702670" cy="712587"/>
              <a:chOff x="10366017" y="30973"/>
              <a:chExt cx="2246316" cy="2278019"/>
            </a:xfrm>
          </p:grpSpPr>
          <p:grpSp>
            <p:nvGrpSpPr>
              <p:cNvPr id="53" name="Grafik 5">
                <a:extLst>
                  <a:ext uri="{FF2B5EF4-FFF2-40B4-BE49-F238E27FC236}">
                    <a16:creationId xmlns:a16="http://schemas.microsoft.com/office/drawing/2014/main" id="{3526A497-56FC-4DB3-81D4-C0F34FE9E373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55" name="Grafik 5">
                  <a:extLst>
                    <a:ext uri="{FF2B5EF4-FFF2-40B4-BE49-F238E27FC236}">
                      <a16:creationId xmlns:a16="http://schemas.microsoft.com/office/drawing/2014/main" id="{8845A494-1235-403C-AE8D-CCF7C3574357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57" name="Freihandform: Form 173">
                    <a:extLst>
                      <a:ext uri="{FF2B5EF4-FFF2-40B4-BE49-F238E27FC236}">
                        <a16:creationId xmlns:a16="http://schemas.microsoft.com/office/drawing/2014/main" id="{69A78EF7-1C34-4160-90B0-123CFD15D71E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" name="Freihandform: Form 174">
                    <a:extLst>
                      <a:ext uri="{FF2B5EF4-FFF2-40B4-BE49-F238E27FC236}">
                        <a16:creationId xmlns:a16="http://schemas.microsoft.com/office/drawing/2014/main" id="{0E963FA4-63B3-4DFA-BC7D-66EA32F8C4C3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" name="Freihandform: Form 175">
                    <a:extLst>
                      <a:ext uri="{FF2B5EF4-FFF2-40B4-BE49-F238E27FC236}">
                        <a16:creationId xmlns:a16="http://schemas.microsoft.com/office/drawing/2014/main" id="{B5E55859-FECB-41B4-A563-20535E324570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" name="Freihandform: Form 176">
                    <a:extLst>
                      <a:ext uri="{FF2B5EF4-FFF2-40B4-BE49-F238E27FC236}">
                        <a16:creationId xmlns:a16="http://schemas.microsoft.com/office/drawing/2014/main" id="{0ACC9DC6-5265-4A57-A89C-AA08FC9122B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" name="Freihandform: Form 177">
                    <a:extLst>
                      <a:ext uri="{FF2B5EF4-FFF2-40B4-BE49-F238E27FC236}">
                        <a16:creationId xmlns:a16="http://schemas.microsoft.com/office/drawing/2014/main" id="{34414CF9-C9FE-4635-9761-CFFCE9226390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" name="Freihandform: Form 178">
                    <a:extLst>
                      <a:ext uri="{FF2B5EF4-FFF2-40B4-BE49-F238E27FC236}">
                        <a16:creationId xmlns:a16="http://schemas.microsoft.com/office/drawing/2014/main" id="{67FDC17C-D326-4202-BCF6-DC72867AF97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" name="Freihandform: Form 179">
                    <a:extLst>
                      <a:ext uri="{FF2B5EF4-FFF2-40B4-BE49-F238E27FC236}">
                        <a16:creationId xmlns:a16="http://schemas.microsoft.com/office/drawing/2014/main" id="{87EE647A-CC59-4D1D-BB28-12B61A2081F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" name="Freihandform: Form 180">
                    <a:extLst>
                      <a:ext uri="{FF2B5EF4-FFF2-40B4-BE49-F238E27FC236}">
                        <a16:creationId xmlns:a16="http://schemas.microsoft.com/office/drawing/2014/main" id="{6C0701D4-E3CB-4142-8941-B65C767FBA27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" name="Freihandform: Form 181">
                    <a:extLst>
                      <a:ext uri="{FF2B5EF4-FFF2-40B4-BE49-F238E27FC236}">
                        <a16:creationId xmlns:a16="http://schemas.microsoft.com/office/drawing/2014/main" id="{7C856744-E57C-4608-8C3A-979D974D07F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" name="Freihandform: Form 182">
                    <a:extLst>
                      <a:ext uri="{FF2B5EF4-FFF2-40B4-BE49-F238E27FC236}">
                        <a16:creationId xmlns:a16="http://schemas.microsoft.com/office/drawing/2014/main" id="{5AB67C3E-1337-4AAC-9067-FB0CEACBE81B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Freihandform: Form 183">
                    <a:extLst>
                      <a:ext uri="{FF2B5EF4-FFF2-40B4-BE49-F238E27FC236}">
                        <a16:creationId xmlns:a16="http://schemas.microsoft.com/office/drawing/2014/main" id="{66FDD839-98DA-4346-BE6D-F2BCBA048F28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Freihandform: Form 184">
                    <a:extLst>
                      <a:ext uri="{FF2B5EF4-FFF2-40B4-BE49-F238E27FC236}">
                        <a16:creationId xmlns:a16="http://schemas.microsoft.com/office/drawing/2014/main" id="{2C3B9209-900B-462D-AB80-24BCE7D2275E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" name="Freihandform: Form 185">
                    <a:extLst>
                      <a:ext uri="{FF2B5EF4-FFF2-40B4-BE49-F238E27FC236}">
                        <a16:creationId xmlns:a16="http://schemas.microsoft.com/office/drawing/2014/main" id="{D1129D54-0A06-4A6E-BD76-1D7A56946D9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Freihandform: Form 186">
                    <a:extLst>
                      <a:ext uri="{FF2B5EF4-FFF2-40B4-BE49-F238E27FC236}">
                        <a16:creationId xmlns:a16="http://schemas.microsoft.com/office/drawing/2014/main" id="{FB8A4BF9-95D0-4C0D-A7BB-97BE7C845D2B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71" name="Grafik 5">
                    <a:extLst>
                      <a:ext uri="{FF2B5EF4-FFF2-40B4-BE49-F238E27FC236}">
                        <a16:creationId xmlns:a16="http://schemas.microsoft.com/office/drawing/2014/main" id="{EB5D59D4-788A-48C3-8211-570A63E967BF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72" name="Freihandform: Form 188">
                      <a:extLst>
                        <a:ext uri="{FF2B5EF4-FFF2-40B4-BE49-F238E27FC236}">
                          <a16:creationId xmlns:a16="http://schemas.microsoft.com/office/drawing/2014/main" id="{12FABE64-CE90-4249-90A1-3A97C12F14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3" name="Freihandform: Form 189">
                      <a:extLst>
                        <a:ext uri="{FF2B5EF4-FFF2-40B4-BE49-F238E27FC236}">
                          <a16:creationId xmlns:a16="http://schemas.microsoft.com/office/drawing/2014/main" id="{BF300DFE-EDB1-4659-BC29-C3014C17273F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4" name="Freihandform: Form 190">
                      <a:extLst>
                        <a:ext uri="{FF2B5EF4-FFF2-40B4-BE49-F238E27FC236}">
                          <a16:creationId xmlns:a16="http://schemas.microsoft.com/office/drawing/2014/main" id="{54CD7C24-96D7-42E5-925E-CEEB44B7D0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5" name="Freihandform: Form 191">
                      <a:extLst>
                        <a:ext uri="{FF2B5EF4-FFF2-40B4-BE49-F238E27FC236}">
                          <a16:creationId xmlns:a16="http://schemas.microsoft.com/office/drawing/2014/main" id="{DD4768E7-8059-4C27-BE21-677115EDA6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6" name="Freihandform: Form 192">
                      <a:extLst>
                        <a:ext uri="{FF2B5EF4-FFF2-40B4-BE49-F238E27FC236}">
                          <a16:creationId xmlns:a16="http://schemas.microsoft.com/office/drawing/2014/main" id="{F54DF6F8-8C4F-410B-A3D7-E73C7459B6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7" name="Freihandform: Form 193">
                      <a:extLst>
                        <a:ext uri="{FF2B5EF4-FFF2-40B4-BE49-F238E27FC236}">
                          <a16:creationId xmlns:a16="http://schemas.microsoft.com/office/drawing/2014/main" id="{13D28E75-67B9-4230-B47D-1015C74586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8" name="Freihandform: Form 194">
                      <a:extLst>
                        <a:ext uri="{FF2B5EF4-FFF2-40B4-BE49-F238E27FC236}">
                          <a16:creationId xmlns:a16="http://schemas.microsoft.com/office/drawing/2014/main" id="{DD3EC4B1-3F24-4BCC-B941-168A97F589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9" name="Freihandform: Form 195">
                      <a:extLst>
                        <a:ext uri="{FF2B5EF4-FFF2-40B4-BE49-F238E27FC236}">
                          <a16:creationId xmlns:a16="http://schemas.microsoft.com/office/drawing/2014/main" id="{920A2C19-802C-485D-AA62-3E1C96B573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0" name="Freihandform: Form 196">
                      <a:extLst>
                        <a:ext uri="{FF2B5EF4-FFF2-40B4-BE49-F238E27FC236}">
                          <a16:creationId xmlns:a16="http://schemas.microsoft.com/office/drawing/2014/main" id="{87C32F63-B097-4A07-B9AF-C8F2D847CF03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1" name="Freihandform: Form 197">
                      <a:extLst>
                        <a:ext uri="{FF2B5EF4-FFF2-40B4-BE49-F238E27FC236}">
                          <a16:creationId xmlns:a16="http://schemas.microsoft.com/office/drawing/2014/main" id="{132FD36F-0079-4A06-9A4A-E7B3C6D704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2" name="Freihandform: Form 198">
                      <a:extLst>
                        <a:ext uri="{FF2B5EF4-FFF2-40B4-BE49-F238E27FC236}">
                          <a16:creationId xmlns:a16="http://schemas.microsoft.com/office/drawing/2014/main" id="{62FCEABD-EE7C-4352-854D-0886BC63B9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3" name="Freihandform: Form 199">
                      <a:extLst>
                        <a:ext uri="{FF2B5EF4-FFF2-40B4-BE49-F238E27FC236}">
                          <a16:creationId xmlns:a16="http://schemas.microsoft.com/office/drawing/2014/main" id="{83A2A145-ED73-4AD8-BE52-6F1245C2D1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4" name="Freihandform: Form 200">
                      <a:extLst>
                        <a:ext uri="{FF2B5EF4-FFF2-40B4-BE49-F238E27FC236}">
                          <a16:creationId xmlns:a16="http://schemas.microsoft.com/office/drawing/2014/main" id="{605FE578-2136-45E8-ACBD-38874AE552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5" name="Freihandform: Form 201">
                      <a:extLst>
                        <a:ext uri="{FF2B5EF4-FFF2-40B4-BE49-F238E27FC236}">
                          <a16:creationId xmlns:a16="http://schemas.microsoft.com/office/drawing/2014/main" id="{3FC875BB-C179-46BF-AAF0-96A92963C0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56" name="Freihandform: Form 172">
                  <a:extLst>
                    <a:ext uri="{FF2B5EF4-FFF2-40B4-BE49-F238E27FC236}">
                      <a16:creationId xmlns:a16="http://schemas.microsoft.com/office/drawing/2014/main" id="{10D32005-EC8F-4863-84B4-FEBFFB7BFE7D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4" name="Ellipse 170">
                <a:extLst>
                  <a:ext uri="{FF2B5EF4-FFF2-40B4-BE49-F238E27FC236}">
                    <a16:creationId xmlns:a16="http://schemas.microsoft.com/office/drawing/2014/main" id="{D72486BD-3912-46A4-86DB-08614A5D2C56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3" name="Gruppieren 168">
              <a:extLst>
                <a:ext uri="{FF2B5EF4-FFF2-40B4-BE49-F238E27FC236}">
                  <a16:creationId xmlns:a16="http://schemas.microsoft.com/office/drawing/2014/main" id="{49FEF36E-D4C1-453A-89A3-09F892E5EA65}"/>
                </a:ext>
              </a:extLst>
            </p:cNvPr>
            <p:cNvGrpSpPr/>
            <p:nvPr/>
          </p:nvGrpSpPr>
          <p:grpSpPr>
            <a:xfrm>
              <a:off x="10943437" y="334624"/>
              <a:ext cx="702670" cy="712587"/>
              <a:chOff x="10366017" y="30973"/>
              <a:chExt cx="2246316" cy="2278019"/>
            </a:xfrm>
          </p:grpSpPr>
          <p:grpSp>
            <p:nvGrpSpPr>
              <p:cNvPr id="14" name="Grafik 5">
                <a:extLst>
                  <a:ext uri="{FF2B5EF4-FFF2-40B4-BE49-F238E27FC236}">
                    <a16:creationId xmlns:a16="http://schemas.microsoft.com/office/drawing/2014/main" id="{94196336-3D74-490E-BB94-01BF5A947506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18" name="Grafik 5">
                  <a:extLst>
                    <a:ext uri="{FF2B5EF4-FFF2-40B4-BE49-F238E27FC236}">
                      <a16:creationId xmlns:a16="http://schemas.microsoft.com/office/drawing/2014/main" id="{2785D0C1-CDA2-4788-9DE4-35EE0A090704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20" name="Freihandform: Form 173">
                    <a:extLst>
                      <a:ext uri="{FF2B5EF4-FFF2-40B4-BE49-F238E27FC236}">
                        <a16:creationId xmlns:a16="http://schemas.microsoft.com/office/drawing/2014/main" id="{E0879FFA-8FD4-4852-9F08-86DFA2DAABB4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" name="Freihandform: Form 174">
                    <a:extLst>
                      <a:ext uri="{FF2B5EF4-FFF2-40B4-BE49-F238E27FC236}">
                        <a16:creationId xmlns:a16="http://schemas.microsoft.com/office/drawing/2014/main" id="{8656D6C2-0B60-4272-97DD-BFEF660E01B2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Freihandform: Form 175">
                    <a:extLst>
                      <a:ext uri="{FF2B5EF4-FFF2-40B4-BE49-F238E27FC236}">
                        <a16:creationId xmlns:a16="http://schemas.microsoft.com/office/drawing/2014/main" id="{79C649FF-5657-4F4D-9AFB-5F0E1303AD3F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" name="Freihandform: Form 176">
                    <a:extLst>
                      <a:ext uri="{FF2B5EF4-FFF2-40B4-BE49-F238E27FC236}">
                        <a16:creationId xmlns:a16="http://schemas.microsoft.com/office/drawing/2014/main" id="{D5CC29A1-6941-4F88-8F8C-6C352DDC443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" name="Freihandform: Form 177">
                    <a:extLst>
                      <a:ext uri="{FF2B5EF4-FFF2-40B4-BE49-F238E27FC236}">
                        <a16:creationId xmlns:a16="http://schemas.microsoft.com/office/drawing/2014/main" id="{8A597600-9993-433F-98C5-1FB8020C1EC2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" name="Freihandform: Form 178">
                    <a:extLst>
                      <a:ext uri="{FF2B5EF4-FFF2-40B4-BE49-F238E27FC236}">
                        <a16:creationId xmlns:a16="http://schemas.microsoft.com/office/drawing/2014/main" id="{5210DC4B-5658-4799-B906-1B9253B1510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0" name="Freihandform: Form 179">
                    <a:extLst>
                      <a:ext uri="{FF2B5EF4-FFF2-40B4-BE49-F238E27FC236}">
                        <a16:creationId xmlns:a16="http://schemas.microsoft.com/office/drawing/2014/main" id="{8CBB904B-7E56-4BA0-A272-CB69C521BB82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" name="Freihandform: Form 180">
                    <a:extLst>
                      <a:ext uri="{FF2B5EF4-FFF2-40B4-BE49-F238E27FC236}">
                        <a16:creationId xmlns:a16="http://schemas.microsoft.com/office/drawing/2014/main" id="{3B7B6E8D-39E6-40BD-BC37-529D1BACF1C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" name="Freihandform: Form 181">
                    <a:extLst>
                      <a:ext uri="{FF2B5EF4-FFF2-40B4-BE49-F238E27FC236}">
                        <a16:creationId xmlns:a16="http://schemas.microsoft.com/office/drawing/2014/main" id="{6B7D7C75-46B5-4821-AD3D-84288E8317D8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" name="Freihandform: Form 182">
                    <a:extLst>
                      <a:ext uri="{FF2B5EF4-FFF2-40B4-BE49-F238E27FC236}">
                        <a16:creationId xmlns:a16="http://schemas.microsoft.com/office/drawing/2014/main" id="{E7EB9117-178F-428E-B769-534F1D88F294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" name="Freihandform: Form 183">
                    <a:extLst>
                      <a:ext uri="{FF2B5EF4-FFF2-40B4-BE49-F238E27FC236}">
                        <a16:creationId xmlns:a16="http://schemas.microsoft.com/office/drawing/2014/main" id="{FBE3DC25-AB04-4E96-AC23-4F506C8EBFAE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" name="Freihandform: Form 184">
                    <a:extLst>
                      <a:ext uri="{FF2B5EF4-FFF2-40B4-BE49-F238E27FC236}">
                        <a16:creationId xmlns:a16="http://schemas.microsoft.com/office/drawing/2014/main" id="{0CD0A21E-35BC-4FCF-915E-AFC50052C69C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6" name="Freihandform: Form 185">
                    <a:extLst>
                      <a:ext uri="{FF2B5EF4-FFF2-40B4-BE49-F238E27FC236}">
                        <a16:creationId xmlns:a16="http://schemas.microsoft.com/office/drawing/2014/main" id="{FC721DD0-1D6A-46CC-B989-16AFC81BFC4C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" name="Freihandform: Form 186">
                    <a:extLst>
                      <a:ext uri="{FF2B5EF4-FFF2-40B4-BE49-F238E27FC236}">
                        <a16:creationId xmlns:a16="http://schemas.microsoft.com/office/drawing/2014/main" id="{79ED9F5F-94B3-4276-BE5D-789E69907677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" name="Grafik 5">
                    <a:extLst>
                      <a:ext uri="{FF2B5EF4-FFF2-40B4-BE49-F238E27FC236}">
                        <a16:creationId xmlns:a16="http://schemas.microsoft.com/office/drawing/2014/main" id="{4A90D31E-4AF8-416D-9D63-C0C20A8D2B29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39" name="Freihandform: Form 188">
                      <a:extLst>
                        <a:ext uri="{FF2B5EF4-FFF2-40B4-BE49-F238E27FC236}">
                          <a16:creationId xmlns:a16="http://schemas.microsoft.com/office/drawing/2014/main" id="{63D88DF8-E96F-4D7F-9795-CF005175F9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0" name="Freihandform: Form 189">
                      <a:extLst>
                        <a:ext uri="{FF2B5EF4-FFF2-40B4-BE49-F238E27FC236}">
                          <a16:creationId xmlns:a16="http://schemas.microsoft.com/office/drawing/2014/main" id="{FD2B1FF9-7C17-423E-A128-72408CF40B4B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1" name="Freihandform: Form 190">
                      <a:extLst>
                        <a:ext uri="{FF2B5EF4-FFF2-40B4-BE49-F238E27FC236}">
                          <a16:creationId xmlns:a16="http://schemas.microsoft.com/office/drawing/2014/main" id="{280AA17C-92CD-409E-B4DB-860D2EDE0C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2" name="Freihandform: Form 191">
                      <a:extLst>
                        <a:ext uri="{FF2B5EF4-FFF2-40B4-BE49-F238E27FC236}">
                          <a16:creationId xmlns:a16="http://schemas.microsoft.com/office/drawing/2014/main" id="{B461D9AE-4D53-4209-AD25-2D4E864869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3" name="Freihandform: Form 192">
                      <a:extLst>
                        <a:ext uri="{FF2B5EF4-FFF2-40B4-BE49-F238E27FC236}">
                          <a16:creationId xmlns:a16="http://schemas.microsoft.com/office/drawing/2014/main" id="{9B5C64E6-8EF5-4A0C-8D95-D25B9D70C8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4" name="Freihandform: Form 193">
                      <a:extLst>
                        <a:ext uri="{FF2B5EF4-FFF2-40B4-BE49-F238E27FC236}">
                          <a16:creationId xmlns:a16="http://schemas.microsoft.com/office/drawing/2014/main" id="{38D10A3D-9EBD-4282-91B6-20E5AE29EC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5" name="Freihandform: Form 194">
                      <a:extLst>
                        <a:ext uri="{FF2B5EF4-FFF2-40B4-BE49-F238E27FC236}">
                          <a16:creationId xmlns:a16="http://schemas.microsoft.com/office/drawing/2014/main" id="{D18302AF-D5A8-48F5-9278-8FC2951A58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6" name="Freihandform: Form 195">
                      <a:extLst>
                        <a:ext uri="{FF2B5EF4-FFF2-40B4-BE49-F238E27FC236}">
                          <a16:creationId xmlns:a16="http://schemas.microsoft.com/office/drawing/2014/main" id="{5897F0D5-0D03-43D7-85E4-1F1A4E7227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7" name="Freihandform: Form 196">
                      <a:extLst>
                        <a:ext uri="{FF2B5EF4-FFF2-40B4-BE49-F238E27FC236}">
                          <a16:creationId xmlns:a16="http://schemas.microsoft.com/office/drawing/2014/main" id="{A3AF54DA-4169-47AB-877E-F028267B2A74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8" name="Freihandform: Form 197">
                      <a:extLst>
                        <a:ext uri="{FF2B5EF4-FFF2-40B4-BE49-F238E27FC236}">
                          <a16:creationId xmlns:a16="http://schemas.microsoft.com/office/drawing/2014/main" id="{F5ACC607-6148-4223-8E09-57114ADEF5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9" name="Freihandform: Form 198">
                      <a:extLst>
                        <a:ext uri="{FF2B5EF4-FFF2-40B4-BE49-F238E27FC236}">
                          <a16:creationId xmlns:a16="http://schemas.microsoft.com/office/drawing/2014/main" id="{5F7989BE-C6AA-455C-8F02-C5806BB565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0" name="Freihandform: Form 199">
                      <a:extLst>
                        <a:ext uri="{FF2B5EF4-FFF2-40B4-BE49-F238E27FC236}">
                          <a16:creationId xmlns:a16="http://schemas.microsoft.com/office/drawing/2014/main" id="{11FA48EF-906B-4136-9C8F-E3867EAB22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1" name="Freihandform: Form 200">
                      <a:extLst>
                        <a:ext uri="{FF2B5EF4-FFF2-40B4-BE49-F238E27FC236}">
                          <a16:creationId xmlns:a16="http://schemas.microsoft.com/office/drawing/2014/main" id="{6A2725EB-229C-444A-BD1F-1D8076F581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2" name="Freihandform: Form 201">
                      <a:extLst>
                        <a:ext uri="{FF2B5EF4-FFF2-40B4-BE49-F238E27FC236}">
                          <a16:creationId xmlns:a16="http://schemas.microsoft.com/office/drawing/2014/main" id="{53405413-BC7B-4D2F-915E-C5CF4E5ED1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9" name="Freihandform: Form 172">
                  <a:extLst>
                    <a:ext uri="{FF2B5EF4-FFF2-40B4-BE49-F238E27FC236}">
                      <a16:creationId xmlns:a16="http://schemas.microsoft.com/office/drawing/2014/main" id="{367A1EAC-79AF-4176-94D6-E222773157F9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" name="Ellipse 170">
                <a:extLst>
                  <a:ext uri="{FF2B5EF4-FFF2-40B4-BE49-F238E27FC236}">
                    <a16:creationId xmlns:a16="http://schemas.microsoft.com/office/drawing/2014/main" id="{21452493-90A6-417D-BCA1-3D4C161E87A5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</p:grpSp>
      <p:sp>
        <p:nvSpPr>
          <p:cNvPr id="120" name="Title 4">
            <a:extLst>
              <a:ext uri="{FF2B5EF4-FFF2-40B4-BE49-F238E27FC236}">
                <a16:creationId xmlns:a16="http://schemas.microsoft.com/office/drawing/2014/main" id="{3A43AB68-4700-47EC-B148-13663E59A12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716697" y="1970116"/>
            <a:ext cx="9095958" cy="2813183"/>
          </a:xfrm>
          <a:noFill/>
        </p:spPr>
        <p:txBody>
          <a:bodyPr/>
          <a:lstStyle/>
          <a:p>
            <a:pPr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600" i="1" dirty="0"/>
              <a:t>“ Without network visibility, </a:t>
            </a:r>
            <a:br>
              <a:rPr lang="en-US" sz="3600" i="1" dirty="0"/>
            </a:br>
            <a:r>
              <a:rPr lang="en-US" sz="3600" i="1" dirty="0"/>
              <a:t>no informed decisions can be made. “</a:t>
            </a:r>
            <a:br>
              <a:rPr lang="en-US" sz="3600" i="1" dirty="0"/>
            </a:br>
            <a:endParaRPr lang="de-CH" sz="3600" i="1" dirty="0"/>
          </a:p>
        </p:txBody>
      </p:sp>
    </p:spTree>
    <p:extLst>
      <p:ext uri="{BB962C8B-B14F-4D97-AF65-F5344CB8AC3E}">
        <p14:creationId xmlns:p14="http://schemas.microsoft.com/office/powerpoint/2010/main" val="3453066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37504;28.12496;42.5;56.25;70.75;84.37504;98.87504;113.25;127;"/>
  <p:tag name="VCT-BULLETVISIBILITY" val="G*****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1.07.2011 10:19:05"/>
  <p:tag name="VCT-TEMPLATE" val="E_Presentation_Standard.potx"/>
  <p:tag name="VCTMASTER" val="Larissa"/>
  <p:tag name="VCT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Roadmap"/>
  <p:tag name="DATE" val="25.07.2011 15:37:3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37504;28.12496;42.5;56.25;70.75;84.37504;98.87504;113.25;127;141.375;155.125;169.5;183.875;197.625;212.125;225.875;240.25;"/>
  <p:tag name="VCT-BULLETVISIBILITY" val="G****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1.07.2011 10:19:05"/>
  <p:tag name="VCT-TEMPLATE" val="E_Presentation_Standard.potx"/>
  <p:tag name="VCTMASTER" val="Larissa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heme/theme1.xml><?xml version="1.0" encoding="utf-8"?>
<a:theme xmlns:a="http://schemas.openxmlformats.org/drawingml/2006/main" name="12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D327D"/>
        </a:solidFill>
        <a:ln w="25400" cap="flat" cmpd="sng" algn="ctr">
          <a:noFill/>
          <a:prstDash val="solid"/>
        </a:ln>
        <a:effectLst/>
      </a:spPr>
      <a:bodyPr lIns="36000" tIns="36000" rIns="36000" bIns="36000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1000" kern="0" dirty="0" smtClean="0">
            <a:solidFill>
              <a:prstClr val="white"/>
            </a:solidFill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E_Presentation_Standard">
  <a:themeElements>
    <a:clrScheme name="swisscom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swisscom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0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Default Design">
  <a:themeElements>
    <a:clrScheme name="Default Design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Larissa">
  <a:themeElements>
    <a:clrScheme name="swisscom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swisscom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Blank">
  <a:themeElements>
    <a:clrScheme name="Blank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Blank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B7B7">
            <a:alpha val="53999"/>
          </a:srgbClr>
        </a:solidFill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B7B7">
            <a:alpha val="53999"/>
          </a:srgbClr>
        </a:solidFill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Blank">
  <a:themeElements>
    <a:clrScheme name="Blank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Blank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Swisscom Master 16:9">
  <a:themeElements>
    <a:clrScheme name="Swisscom Office">
      <a:dk1>
        <a:srgbClr val="333333"/>
      </a:dk1>
      <a:lt1>
        <a:sysClr val="window" lastClr="FFFFFF"/>
      </a:lt1>
      <a:dk2>
        <a:srgbClr val="DD1122"/>
      </a:dk2>
      <a:lt2>
        <a:srgbClr val="001155"/>
      </a:lt2>
      <a:accent1>
        <a:srgbClr val="001155"/>
      </a:accent1>
      <a:accent2>
        <a:srgbClr val="11AAFF"/>
      </a:accent2>
      <a:accent3>
        <a:srgbClr val="0851DA"/>
      </a:accent3>
      <a:accent4>
        <a:srgbClr val="5C5C5C"/>
      </a:accent4>
      <a:accent5>
        <a:srgbClr val="858585"/>
      </a:accent5>
      <a:accent6>
        <a:srgbClr val="C1C1C1"/>
      </a:accent6>
      <a:hlink>
        <a:srgbClr val="11AAFF"/>
      </a:hlink>
      <a:folHlink>
        <a:srgbClr val="333333"/>
      </a:folHlink>
    </a:clrScheme>
    <a:fontScheme name="Benutzerdefiniert 6">
      <a:majorFont>
        <a:latin typeface="TheSans Swisscom Light"/>
        <a:ea typeface=""/>
        <a:cs typeface=""/>
      </a:majorFont>
      <a:minorFont>
        <a:latin typeface="TheSans Swissco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6350">
          <a:solidFill>
            <a:schemeClr val="tx1"/>
          </a:solidFill>
        </a:ln>
      </a:spPr>
      <a:bodyPr rtlCol="0" anchor="ctr"/>
      <a:lstStyle>
        <a:defPPr algn="ctr">
          <a:lnSpc>
            <a:spcPct val="110000"/>
          </a:lnSpc>
          <a:defRPr sz="16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none" lIns="0" tIns="0" rIns="0" bIns="0" rtlCol="0">
        <a:noAutofit/>
      </a:bodyPr>
      <a:lstStyle>
        <a:defPPr marL="180000" indent="-180000" algn="l">
          <a:lnSpc>
            <a:spcPct val="110000"/>
          </a:lnSpc>
          <a:buFont typeface="Arial" panose="020B0604020202020204" pitchFamily="34" charset="0"/>
          <a:buChar char="•"/>
          <a:defRPr sz="1600" dirty="0"/>
        </a:defPPr>
      </a:lstStyle>
    </a:txDef>
  </a:objectDefaults>
  <a:extraClrSchemeLst/>
  <a:custClrLst>
    <a:custClr name="Pink">
      <a:srgbClr val="E61E64"/>
    </a:custClr>
    <a:custClr name="Orchid">
      <a:srgbClr val="A63297"/>
    </a:custClr>
    <a:custClr name="Iris">
      <a:srgbClr val="5944C6"/>
    </a:custClr>
    <a:custClr name="Dark Blue">
      <a:srgbClr val="1781E3"/>
    </a:custClr>
    <a:custClr name="Turquoise">
      <a:srgbClr val="0EABA9"/>
    </a:custClr>
    <a:custClr name="Aluminium">
      <a:srgbClr val="DDE3E7"/>
    </a:custClr>
    <a:custClr name="Horizon">
      <a:srgbClr val="EEF3F6"/>
    </a:custClr>
  </a:custClrLst>
  <a:extLst>
    <a:ext uri="{05A4C25C-085E-4340-85A3-A5531E510DB2}">
      <thm15:themeFamily xmlns:thm15="http://schemas.microsoft.com/office/thememl/2012/main" name="11_Presentation.potx" id="{7B97D6A9-4619-4506-9837-6CE85D33AF65}" vid="{F7B604C9-6113-49C9-A558-BEC3AFB8596F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8792A905D4FBE4781303B372FFF56B7" ma:contentTypeVersion="8" ma:contentTypeDescription="Ein neues Dokument erstellen." ma:contentTypeScope="" ma:versionID="1778ac4254428fd8dcfb4dc1c346fd92">
  <xsd:schema xmlns:xsd="http://www.w3.org/2001/XMLSchema" xmlns:xs="http://www.w3.org/2001/XMLSchema" xmlns:p="http://schemas.microsoft.com/office/2006/metadata/properties" xmlns:ns3="3e5e162a-5953-4fde-83b3-9639e6ab13bb" targetNamespace="http://schemas.microsoft.com/office/2006/metadata/properties" ma:root="true" ma:fieldsID="3cfd1d800c203e42ff8f3b3519a8cd64" ns3:_="">
    <xsd:import namespace="3e5e162a-5953-4fde-83b3-9639e6ab13b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5e162a-5953-4fde-83b3-9639e6ab13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F3BE7FE-F078-45E5-A4DB-1BE54006E4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EBF10C-360A-4DB6-A409-C5618882BBD0}">
  <ds:schemaRefs>
    <ds:schemaRef ds:uri="3e5e162a-5953-4fde-83b3-9639e6ab13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14E5AFF-82D4-41E9-A844-AC77284E0AD4}">
  <ds:schemaRefs>
    <ds:schemaRef ds:uri="http://schemas.microsoft.com/office/2006/metadata/properties"/>
    <ds:schemaRef ds:uri="3e5e162a-5953-4fde-83b3-9639e6ab13b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2e1fccfb-80ca-4fe1-a574-1516544edb53}" enabled="1" method="Standard" siteId="{364e5b87-c1c7-420d-9bee-c35d19b557a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0</Words>
  <Application>Microsoft Office PowerPoint</Application>
  <PresentationFormat>Widescreen</PresentationFormat>
  <Paragraphs>90</Paragraphs>
  <Slides>14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Calibri</vt:lpstr>
      <vt:lpstr>TheSans Swisscom</vt:lpstr>
      <vt:lpstr>TheSans Swisscom Light</vt:lpstr>
      <vt:lpstr>12_Blank</vt:lpstr>
      <vt:lpstr>E_Presentation_Standard</vt:lpstr>
      <vt:lpstr>20_Blank</vt:lpstr>
      <vt:lpstr>Default Design</vt:lpstr>
      <vt:lpstr>Larissa</vt:lpstr>
      <vt:lpstr>Blank</vt:lpstr>
      <vt:lpstr>1_Blank</vt:lpstr>
      <vt:lpstr>Swisscom Master 16:9</vt:lpstr>
      <vt:lpstr>Swisscom Network Analytics Why Network Modelling with Digital Map is the next step</vt:lpstr>
      <vt:lpstr>PowerPoint Presentation</vt:lpstr>
      <vt:lpstr>PowerPoint Presentation</vt:lpstr>
      <vt:lpstr>“ It is our duty to recognize service interruption  before our customer does. Why do we still often fail to be first ? “</vt:lpstr>
      <vt:lpstr>PowerPoint Presentation</vt:lpstr>
      <vt:lpstr>PowerPoint Presentation</vt:lpstr>
      <vt:lpstr>PowerPoint Presentation</vt:lpstr>
      <vt:lpstr>PowerPoint Presentation</vt:lpstr>
      <vt:lpstr>“ Without network visibility,  no informed decisions can be made. “ </vt:lpstr>
      <vt:lpstr>Monitor L3 VPN Relationships in Near Real-Time What Interfaces are for Flows, Peerings are for BGP</vt:lpstr>
      <vt:lpstr>From Network to Alert Event Observe multiple perspectives at different times</vt:lpstr>
      <vt:lpstr>PowerPoint Presentation</vt:lpstr>
      <vt:lpstr>January 29th 2023, B2B Customer LAN-I Secure CER Traffic Blackholing Logical Connection 785 - L3 VPN monitored By Network Anomaly Detec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ael.Mankel@swisscom.com</dc:creator>
  <cp:lastModifiedBy>Graf Thomas, INI-NET-VNC-HCS</cp:lastModifiedBy>
  <cp:revision>201</cp:revision>
  <dcterms:created xsi:type="dcterms:W3CDTF">2016-05-10T09:20:19Z</dcterms:created>
  <dcterms:modified xsi:type="dcterms:W3CDTF">2023-07-24T17:4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792A905D4FBE4781303B372FFF56B7</vt:lpwstr>
  </property>
  <property fmtid="{D5CDD505-2E9C-101B-9397-08002B2CF9AE}" pid="3" name="_dlc_DocIdItemGuid">
    <vt:lpwstr>965fe21c-2b00-4877-9ea6-4f512aab3804</vt:lpwstr>
  </property>
  <property fmtid="{D5CDD505-2E9C-101B-9397-08002B2CF9AE}" pid="4" name="_NewReviewCycle">
    <vt:lpwstr/>
  </property>
  <property fmtid="{D5CDD505-2E9C-101B-9397-08002B2CF9AE}" pid="5" name="MSIP_Label_2e1fccfb-80ca-4fe1-a574-1516544edb53_Enabled">
    <vt:lpwstr>true</vt:lpwstr>
  </property>
  <property fmtid="{D5CDD505-2E9C-101B-9397-08002B2CF9AE}" pid="6" name="MSIP_Label_2e1fccfb-80ca-4fe1-a574-1516544edb53_SetDate">
    <vt:lpwstr>2023-06-15T06:51:19Z</vt:lpwstr>
  </property>
  <property fmtid="{D5CDD505-2E9C-101B-9397-08002B2CF9AE}" pid="7" name="MSIP_Label_2e1fccfb-80ca-4fe1-a574-1516544edb53_Method">
    <vt:lpwstr>Standard</vt:lpwstr>
  </property>
  <property fmtid="{D5CDD505-2E9C-101B-9397-08002B2CF9AE}" pid="8" name="MSIP_Label_2e1fccfb-80ca-4fe1-a574-1516544edb53_Name">
    <vt:lpwstr>C2 Internal</vt:lpwstr>
  </property>
  <property fmtid="{D5CDD505-2E9C-101B-9397-08002B2CF9AE}" pid="9" name="MSIP_Label_2e1fccfb-80ca-4fe1-a574-1516544edb53_SiteId">
    <vt:lpwstr>364e5b87-c1c7-420d-9bee-c35d19b557a1</vt:lpwstr>
  </property>
  <property fmtid="{D5CDD505-2E9C-101B-9397-08002B2CF9AE}" pid="10" name="MSIP_Label_2e1fccfb-80ca-4fe1-a574-1516544edb53_ContentBits">
    <vt:lpwstr>0</vt:lpwstr>
  </property>
  <property fmtid="{D5CDD505-2E9C-101B-9397-08002B2CF9AE}" pid="11" name="Sensitivity">
    <vt:lpwstr>C2 General</vt:lpwstr>
  </property>
</Properties>
</file>